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mp" ContentType="image/png"/>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6.xml" ContentType="application/vnd.openxmlformats-officedocument.presentationml.tags+xml"/>
  <Override PartName="/ppt/notesSlides/notesSlide1.xml" ContentType="application/vnd.openxmlformats-officedocument.presentationml.notesSlide+xml"/>
  <Override PartName="/ppt/tags/tag1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8.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9.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0.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2.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72" r:id="rId4"/>
  </p:sldMasterIdLst>
  <p:notesMasterIdLst>
    <p:notesMasterId r:id="rId28"/>
  </p:notesMasterIdLst>
  <p:handoutMasterIdLst>
    <p:handoutMasterId r:id="rId29"/>
  </p:handoutMasterIdLst>
  <p:sldIdLst>
    <p:sldId id="753" r:id="rId5"/>
    <p:sldId id="258" r:id="rId6"/>
    <p:sldId id="5508" r:id="rId7"/>
    <p:sldId id="5513" r:id="rId8"/>
    <p:sldId id="5504" r:id="rId9"/>
    <p:sldId id="3176" r:id="rId10"/>
    <p:sldId id="717" r:id="rId11"/>
    <p:sldId id="379" r:id="rId12"/>
    <p:sldId id="732" r:id="rId13"/>
    <p:sldId id="5506" r:id="rId14"/>
    <p:sldId id="5500" r:id="rId15"/>
    <p:sldId id="5503" r:id="rId16"/>
    <p:sldId id="722" r:id="rId17"/>
    <p:sldId id="725" r:id="rId18"/>
    <p:sldId id="5511" r:id="rId19"/>
    <p:sldId id="726" r:id="rId20"/>
    <p:sldId id="729" r:id="rId21"/>
    <p:sldId id="728" r:id="rId22"/>
    <p:sldId id="5509" r:id="rId23"/>
    <p:sldId id="5510" r:id="rId24"/>
    <p:sldId id="545" r:id="rId25"/>
    <p:sldId id="730" r:id="rId26"/>
    <p:sldId id="5512" r:id="rId27"/>
  </p:sldIdLst>
  <p:sldSz cx="12192000" cy="6858000"/>
  <p:notesSz cx="9296400" cy="70104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0" userDrawn="1">
          <p15:clr>
            <a:srgbClr val="A4A3A4"/>
          </p15:clr>
        </p15:guide>
        <p15:guide id="3" orient="horz" pos="2352" userDrawn="1">
          <p15:clr>
            <a:srgbClr val="A4A3A4"/>
          </p15:clr>
        </p15:guide>
        <p15:guide id="4" orient="horz" pos="3795" userDrawn="1">
          <p15:clr>
            <a:srgbClr val="A4A3A4"/>
          </p15:clr>
        </p15:guide>
        <p15:guide id="6" orient="horz" pos="4175" userDrawn="1">
          <p15:clr>
            <a:srgbClr val="A4A3A4"/>
          </p15:clr>
        </p15:guide>
        <p15:guide id="7" pos="293" userDrawn="1">
          <p15:clr>
            <a:srgbClr val="A4A3A4"/>
          </p15:clr>
        </p15:guide>
        <p15:guide id="8" pos="7399" userDrawn="1">
          <p15:clr>
            <a:srgbClr val="A4A3A4"/>
          </p15:clr>
        </p15:guide>
        <p15:guide id="9" pos="1463" userDrawn="1">
          <p15:clr>
            <a:srgbClr val="A4A3A4"/>
          </p15:clr>
        </p15:guide>
        <p15:guide id="10" pos="6193" userDrawn="1">
          <p15:clr>
            <a:srgbClr val="A4A3A4"/>
          </p15:clr>
        </p15:guide>
        <p15:guide id="11" pos="3841" userDrawn="1">
          <p15:clr>
            <a:srgbClr val="A4A3A4"/>
          </p15:clr>
        </p15:guide>
        <p15:guide id="12" pos="2640" userDrawn="1">
          <p15:clr>
            <a:srgbClr val="A4A3A4"/>
          </p15:clr>
        </p15:guide>
        <p15:guide id="13" pos="5016" userDrawn="1">
          <p15:clr>
            <a:srgbClr val="A4A3A4"/>
          </p15:clr>
        </p15:guide>
        <p15:guide id="14" orient="horz" pos="279" userDrawn="1">
          <p15:clr>
            <a:srgbClr val="A4A3A4"/>
          </p15:clr>
        </p15:guide>
        <p15:guide id="15" orient="horz" pos="768" userDrawn="1">
          <p15:clr>
            <a:srgbClr val="A4A3A4"/>
          </p15:clr>
        </p15:guide>
        <p15:guide id="16" orient="horz" pos="4152" userDrawn="1">
          <p15:clr>
            <a:srgbClr val="A4A3A4"/>
          </p15:clr>
        </p15:guide>
        <p15:guide id="17" orient="horz" pos="912" userDrawn="1">
          <p15:clr>
            <a:srgbClr val="A4A3A4"/>
          </p15:clr>
        </p15:guide>
        <p15:guide id="18" orient="horz" pos="3931" userDrawn="1">
          <p15:clr>
            <a:srgbClr val="A4A3A4"/>
          </p15:clr>
        </p15:guide>
        <p15:guide id="19" pos="3792" userDrawn="1">
          <p15:clr>
            <a:srgbClr val="A4A3A4"/>
          </p15:clr>
        </p15:guide>
        <p15:guide id="20" pos="3888" userDrawn="1">
          <p15:clr>
            <a:srgbClr val="A4A3A4"/>
          </p15:clr>
        </p15:guide>
        <p15:guide id="21" orient="horz" pos="2304" userDrawn="1">
          <p15:clr>
            <a:srgbClr val="A4A3A4"/>
          </p15:clr>
        </p15:guide>
        <p15:guide id="22" orient="horz" pos="2400" userDrawn="1">
          <p15:clr>
            <a:srgbClr val="A4A3A4"/>
          </p15:clr>
        </p15:guide>
        <p15:guide id="23" orient="horz" pos="286" userDrawn="1">
          <p15:clr>
            <a:srgbClr val="A4A3A4"/>
          </p15:clr>
        </p15:guide>
        <p15:guide id="24" orient="horz" pos="285" userDrawn="1">
          <p15:clr>
            <a:srgbClr val="A4A3A4"/>
          </p15:clr>
        </p15:guide>
        <p15:guide id="25" orient="horz" pos="401" userDrawn="1">
          <p15:clr>
            <a:srgbClr val="A4A3A4"/>
          </p15:clr>
        </p15:guide>
        <p15:guide id="26" orient="horz" pos="1039" userDrawn="1">
          <p15:clr>
            <a:srgbClr val="A4A3A4"/>
          </p15:clr>
        </p15:guide>
        <p15:guide id="27" pos="3435" userDrawn="1">
          <p15:clr>
            <a:srgbClr val="A4A3A4"/>
          </p15:clr>
        </p15:guide>
      </p15:sldGuideLst>
    </p:ext>
    <p:ext uri="{2D200454-40CA-4A62-9FC3-DE9A4176ACB9}">
      <p15:notesGuideLst xmlns:p15="http://schemas.microsoft.com/office/powerpoint/2012/main">
        <p15:guide id="1" orient="horz" pos="2208" userDrawn="1">
          <p15:clr>
            <a:srgbClr val="A4A3A4"/>
          </p15:clr>
        </p15:guide>
        <p15:guide id="2" pos="292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rnold, Joseph" initials="AJ" lastIdx="1" clrIdx="0"/>
  <p:cmAuthor id="2" name="Avadhanam, Harikrishna" initials="AH" lastIdx="7" clrIdx="1"/>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C54"/>
    <a:srgbClr val="064E69"/>
    <a:srgbClr val="D1EDE9"/>
    <a:srgbClr val="FF9900"/>
    <a:srgbClr val="03ADA5"/>
    <a:srgbClr val="CC6600"/>
    <a:srgbClr val="AE63CF"/>
    <a:srgbClr val="00859B"/>
    <a:srgbClr val="7CC0CC"/>
    <a:srgbClr val="F2F2F2"/>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0C7C89F-D00C-0000-C6BF-F5BC924C72CD}" v="6" dt="2021-05-17T12:32:49.08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838" autoAdjust="0"/>
    <p:restoredTop sz="93910" autoAdjust="0"/>
  </p:normalViewPr>
  <p:slideViewPr>
    <p:cSldViewPr snapToGrid="0">
      <p:cViewPr varScale="1">
        <p:scale>
          <a:sx n="68" d="100"/>
          <a:sy n="68" d="100"/>
        </p:scale>
        <p:origin x="744" y="66"/>
      </p:cViewPr>
      <p:guideLst>
        <p:guide orient="horz" pos="280"/>
        <p:guide orient="horz" pos="2352"/>
        <p:guide orient="horz" pos="3795"/>
        <p:guide orient="horz" pos="4175"/>
        <p:guide pos="293"/>
        <p:guide pos="7399"/>
        <p:guide pos="1463"/>
        <p:guide pos="6193"/>
        <p:guide pos="3841"/>
        <p:guide pos="2640"/>
        <p:guide pos="5016"/>
        <p:guide orient="horz" pos="279"/>
        <p:guide orient="horz" pos="768"/>
        <p:guide orient="horz" pos="4152"/>
        <p:guide orient="horz" pos="912"/>
        <p:guide orient="horz" pos="3931"/>
        <p:guide pos="3792"/>
        <p:guide pos="3888"/>
        <p:guide orient="horz" pos="2304"/>
        <p:guide orient="horz" pos="2400"/>
        <p:guide orient="horz" pos="286"/>
        <p:guide orient="horz" pos="285"/>
        <p:guide orient="horz" pos="401"/>
        <p:guide orient="horz" pos="1039"/>
        <p:guide pos="3435"/>
      </p:guideLst>
    </p:cSldViewPr>
  </p:slideViewPr>
  <p:notesTextViewPr>
    <p:cViewPr>
      <p:scale>
        <a:sx n="125" d="100"/>
        <a:sy n="125" d="100"/>
      </p:scale>
      <p:origin x="0" y="0"/>
    </p:cViewPr>
  </p:notesTextViewPr>
  <p:sorterViewPr>
    <p:cViewPr>
      <p:scale>
        <a:sx n="66" d="100"/>
        <a:sy n="66" d="100"/>
      </p:scale>
      <p:origin x="0" y="0"/>
    </p:cViewPr>
  </p:sorterViewPr>
  <p:notesViewPr>
    <p:cSldViewPr snapToGrid="0" snapToObjects="1">
      <p:cViewPr varScale="1">
        <p:scale>
          <a:sx n="88" d="100"/>
          <a:sy n="88" d="100"/>
        </p:scale>
        <p:origin x="2040" y="77"/>
      </p:cViewPr>
      <p:guideLst>
        <p:guide orient="horz" pos="2208"/>
        <p:guide pos="292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0520"/>
          </a:xfrm>
          <a:prstGeom prst="rect">
            <a:avLst/>
          </a:prstGeom>
        </p:spPr>
        <p:txBody>
          <a:bodyPr vert="horz" lIns="93177" tIns="46589" rIns="93177" bIns="46589" rtlCol="0"/>
          <a:lstStyle>
            <a:lvl1pPr algn="l">
              <a:defRPr sz="1200"/>
            </a:lvl1pPr>
          </a:lstStyle>
          <a:p>
            <a:endParaRPr lang="en-US" sz="1000" dirty="0">
              <a:latin typeface="Open Sans Light"/>
              <a:cs typeface="Open Sans Light"/>
            </a:endParaRPr>
          </a:p>
        </p:txBody>
      </p:sp>
      <p:sp>
        <p:nvSpPr>
          <p:cNvPr id="3" name="Date Placeholder 2"/>
          <p:cNvSpPr>
            <a:spLocks noGrp="1"/>
          </p:cNvSpPr>
          <p:nvPr>
            <p:ph type="dt" sz="quarter" idx="1"/>
          </p:nvPr>
        </p:nvSpPr>
        <p:spPr>
          <a:xfrm>
            <a:off x="5266347" y="0"/>
            <a:ext cx="4028440" cy="350520"/>
          </a:xfrm>
          <a:prstGeom prst="rect">
            <a:avLst/>
          </a:prstGeom>
        </p:spPr>
        <p:txBody>
          <a:bodyPr vert="horz" lIns="93177" tIns="46589" rIns="93177" bIns="46589" rtlCol="0"/>
          <a:lstStyle>
            <a:lvl1pPr algn="r">
              <a:defRPr sz="1200"/>
            </a:lvl1pPr>
          </a:lstStyle>
          <a:p>
            <a:fld id="{82541AEF-3112-6549-914A-E0D9B60F40EA}" type="datetimeFigureOut">
              <a:rPr lang="en-US" sz="1000">
                <a:latin typeface="Open Sans Light"/>
                <a:cs typeface="Open Sans Light"/>
              </a:rPr>
              <a:t>3/11/2022</a:t>
            </a:fld>
            <a:endParaRPr lang="en-US" sz="1000" dirty="0">
              <a:latin typeface="Open Sans Light"/>
              <a:cs typeface="Open Sans Light"/>
            </a:endParaRPr>
          </a:p>
        </p:txBody>
      </p:sp>
      <p:sp>
        <p:nvSpPr>
          <p:cNvPr id="4" name="Footer Placeholder 3"/>
          <p:cNvSpPr>
            <a:spLocks noGrp="1"/>
          </p:cNvSpPr>
          <p:nvPr>
            <p:ph type="ftr" sz="quarter" idx="2"/>
          </p:nvPr>
        </p:nvSpPr>
        <p:spPr>
          <a:xfrm>
            <a:off x="0" y="6658258"/>
            <a:ext cx="4028440" cy="350520"/>
          </a:xfrm>
          <a:prstGeom prst="rect">
            <a:avLst/>
          </a:prstGeom>
        </p:spPr>
        <p:txBody>
          <a:bodyPr vert="horz" lIns="93177" tIns="46589" rIns="93177" bIns="46589" rtlCol="0" anchor="b"/>
          <a:lstStyle>
            <a:lvl1pPr algn="l">
              <a:defRPr sz="1200"/>
            </a:lvl1pPr>
          </a:lstStyle>
          <a:p>
            <a:endParaRPr lang="en-US" sz="1000" dirty="0">
              <a:latin typeface="Open Sans Light"/>
              <a:cs typeface="Open Sans Light"/>
            </a:endParaRPr>
          </a:p>
        </p:txBody>
      </p:sp>
      <p:sp>
        <p:nvSpPr>
          <p:cNvPr id="5" name="Slide Number Placeholder 4"/>
          <p:cNvSpPr>
            <a:spLocks noGrp="1"/>
          </p:cNvSpPr>
          <p:nvPr>
            <p:ph type="sldNum" sz="quarter" idx="3"/>
          </p:nvPr>
        </p:nvSpPr>
        <p:spPr>
          <a:xfrm>
            <a:off x="5266347" y="6658258"/>
            <a:ext cx="4028440" cy="350520"/>
          </a:xfrm>
          <a:prstGeom prst="rect">
            <a:avLst/>
          </a:prstGeom>
        </p:spPr>
        <p:txBody>
          <a:bodyPr vert="horz" lIns="93177" tIns="46589" rIns="93177" bIns="46589" rtlCol="0" anchor="b"/>
          <a:lstStyle>
            <a:lvl1pPr algn="r">
              <a:defRPr sz="1200"/>
            </a:lvl1pPr>
          </a:lstStyle>
          <a:p>
            <a:fld id="{BF293638-C25A-9844-8D5B-B0309EC5F961}" type="slidenum">
              <a:rPr lang="en-US" sz="1000">
                <a:latin typeface="Open Sans Light"/>
                <a:cs typeface="Open Sans Light"/>
              </a:rPr>
              <a:t>‹#›</a:t>
            </a:fld>
            <a:endParaRPr lang="en-US" sz="1000" dirty="0">
              <a:latin typeface="Open Sans Light"/>
              <a:cs typeface="Open Sans Light"/>
            </a:endParaRPr>
          </a:p>
        </p:txBody>
      </p:sp>
    </p:spTree>
    <p:extLst>
      <p:ext uri="{BB962C8B-B14F-4D97-AF65-F5344CB8AC3E}">
        <p14:creationId xmlns:p14="http://schemas.microsoft.com/office/powerpoint/2010/main" val="34768346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0520"/>
          </a:xfrm>
          <a:prstGeom prst="rect">
            <a:avLst/>
          </a:prstGeom>
        </p:spPr>
        <p:txBody>
          <a:bodyPr vert="horz" lIns="93177" tIns="46589" rIns="93177" bIns="46589" rtlCol="0"/>
          <a:lstStyle>
            <a:lvl1pPr algn="l">
              <a:defRPr sz="1000">
                <a:latin typeface="Arial" panose="020B0604020202020204" pitchFamily="34" charset="0"/>
                <a:cs typeface="Arial" panose="020B0604020202020204" pitchFamily="34" charset="0"/>
                <a:sym typeface="Arial" panose="020B0604020202020204" pitchFamily="34" charset="0"/>
              </a:defRPr>
            </a:lvl1pPr>
          </a:lstStyle>
          <a:p>
            <a:endParaRPr lang="en-US" dirty="0"/>
          </a:p>
        </p:txBody>
      </p:sp>
      <p:sp>
        <p:nvSpPr>
          <p:cNvPr id="3" name="Date Placeholder 2"/>
          <p:cNvSpPr>
            <a:spLocks noGrp="1"/>
          </p:cNvSpPr>
          <p:nvPr>
            <p:ph type="dt" idx="1"/>
          </p:nvPr>
        </p:nvSpPr>
        <p:spPr>
          <a:xfrm>
            <a:off x="5266347" y="0"/>
            <a:ext cx="4028440" cy="350520"/>
          </a:xfrm>
          <a:prstGeom prst="rect">
            <a:avLst/>
          </a:prstGeom>
        </p:spPr>
        <p:txBody>
          <a:bodyPr vert="horz" lIns="93177" tIns="46589" rIns="93177" bIns="46589" rtlCol="0"/>
          <a:lstStyle>
            <a:lvl1pPr algn="r">
              <a:defRPr sz="1000">
                <a:latin typeface="Arial" panose="020B0604020202020204" pitchFamily="34" charset="0"/>
                <a:cs typeface="Arial" panose="020B0604020202020204" pitchFamily="34" charset="0"/>
                <a:sym typeface="Arial" panose="020B0604020202020204" pitchFamily="34" charset="0"/>
              </a:defRPr>
            </a:lvl1pPr>
          </a:lstStyle>
          <a:p>
            <a:fld id="{EC2C7003-A6A9-A249-88AD-8CFDA7DED64B}" type="datetimeFigureOut">
              <a:rPr lang="en-US" smtClean="0"/>
              <a:pPr/>
              <a:t>3/11/2022</a:t>
            </a:fld>
            <a:endParaRPr lang="en-US" dirty="0"/>
          </a:p>
        </p:txBody>
      </p:sp>
      <p:sp>
        <p:nvSpPr>
          <p:cNvPr id="4" name="Slide Image Placeholder 3"/>
          <p:cNvSpPr>
            <a:spLocks noGrp="1" noRot="1" noChangeAspect="1"/>
          </p:cNvSpPr>
          <p:nvPr>
            <p:ph type="sldImg" idx="2"/>
          </p:nvPr>
        </p:nvSpPr>
        <p:spPr>
          <a:xfrm>
            <a:off x="2311400" y="525463"/>
            <a:ext cx="4673600" cy="2628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929640" y="3329940"/>
            <a:ext cx="7437120" cy="3154680"/>
          </a:xfrm>
          <a:prstGeom prst="rect">
            <a:avLst/>
          </a:prstGeom>
        </p:spPr>
        <p:txBody>
          <a:bodyPr vert="horz" lIns="93177" tIns="46589" rIns="93177" bIns="46589"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6658258"/>
            <a:ext cx="4028440" cy="350520"/>
          </a:xfrm>
          <a:prstGeom prst="rect">
            <a:avLst/>
          </a:prstGeom>
        </p:spPr>
        <p:txBody>
          <a:bodyPr vert="horz" lIns="93177" tIns="46589" rIns="93177" bIns="46589" rtlCol="0" anchor="b"/>
          <a:lstStyle>
            <a:lvl1pPr algn="l">
              <a:defRPr sz="1000">
                <a:latin typeface="Arial" panose="020B0604020202020204" pitchFamily="34" charset="0"/>
                <a:cs typeface="Arial" panose="020B0604020202020204" pitchFamily="34" charset="0"/>
                <a:sym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5266347" y="6658258"/>
            <a:ext cx="4028440" cy="350520"/>
          </a:xfrm>
          <a:prstGeom prst="rect">
            <a:avLst/>
          </a:prstGeom>
        </p:spPr>
        <p:txBody>
          <a:bodyPr vert="horz" lIns="93177" tIns="46589" rIns="93177" bIns="46589" rtlCol="0" anchor="b"/>
          <a:lstStyle>
            <a:lvl1pPr algn="r">
              <a:defRPr sz="1000">
                <a:latin typeface="Arial" panose="020B0604020202020204" pitchFamily="34" charset="0"/>
                <a:cs typeface="Arial" panose="020B0604020202020204" pitchFamily="34" charset="0"/>
                <a:sym typeface="Arial" panose="020B0604020202020204" pitchFamily="34" charset="0"/>
              </a:defRPr>
            </a:lvl1pPr>
          </a:lstStyle>
          <a:p>
            <a:fld id="{50AD15A5-6128-B84F-818D-8AA5BDD9AF9D}" type="slidenum">
              <a:rPr lang="en-US" smtClean="0"/>
              <a:pPr/>
              <a:t>‹#›</a:t>
            </a:fld>
            <a:endParaRPr lang="en-US" dirty="0"/>
          </a:p>
        </p:txBody>
      </p:sp>
    </p:spTree>
    <p:extLst>
      <p:ext uri="{BB962C8B-B14F-4D97-AF65-F5344CB8AC3E}">
        <p14:creationId xmlns:p14="http://schemas.microsoft.com/office/powerpoint/2010/main" val="3526269920"/>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9144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13716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18288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1</a:t>
            </a:fld>
            <a:endParaRPr lang="en-US" dirty="0"/>
          </a:p>
        </p:txBody>
      </p:sp>
    </p:spTree>
    <p:extLst>
      <p:ext uri="{BB962C8B-B14F-4D97-AF65-F5344CB8AC3E}">
        <p14:creationId xmlns:p14="http://schemas.microsoft.com/office/powerpoint/2010/main" val="2423213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do we want Business Platforms? </a:t>
            </a:r>
          </a:p>
        </p:txBody>
      </p:sp>
      <p:sp>
        <p:nvSpPr>
          <p:cNvPr id="4" name="Slide Number Placeholder 3"/>
          <p:cNvSpPr>
            <a:spLocks noGrp="1"/>
          </p:cNvSpPr>
          <p:nvPr>
            <p:ph type="sldNum" sz="quarter" idx="5"/>
          </p:nvPr>
        </p:nvSpPr>
        <p:spPr/>
        <p:txBody>
          <a:bodyPr/>
          <a:lstStyle/>
          <a:p>
            <a:fld id="{50AD15A5-6128-B84F-818D-8AA5BDD9AF9D}" type="slidenum">
              <a:rPr lang="en-US" smtClean="0"/>
              <a:pPr/>
              <a:t>10</a:t>
            </a:fld>
            <a:endParaRPr lang="en-US" dirty="0"/>
          </a:p>
        </p:txBody>
      </p:sp>
    </p:spTree>
    <p:extLst>
      <p:ext uri="{BB962C8B-B14F-4D97-AF65-F5344CB8AC3E}">
        <p14:creationId xmlns:p14="http://schemas.microsoft.com/office/powerpoint/2010/main" val="924967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11</a:t>
            </a:fld>
            <a:endParaRPr lang="en-US" dirty="0"/>
          </a:p>
        </p:txBody>
      </p:sp>
    </p:spTree>
    <p:extLst>
      <p:ext uri="{BB962C8B-B14F-4D97-AF65-F5344CB8AC3E}">
        <p14:creationId xmlns:p14="http://schemas.microsoft.com/office/powerpoint/2010/main" val="24410751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465436" fontAlgn="base">
              <a:spcBef>
                <a:spcPts val="1223"/>
              </a:spcBef>
              <a:buFont typeface="Arial" panose="020B0604020202020204" pitchFamily="34" charset="0"/>
              <a:buNone/>
            </a:pPr>
            <a:r>
              <a:rPr lang="en-US" dirty="0">
                <a:solidFill>
                  <a:srgbClr val="0070C0"/>
                </a:solidFill>
                <a:cs typeface="Open Sans Light"/>
              </a:rPr>
              <a:t>See the Clinical Manifesto </a:t>
            </a:r>
          </a:p>
        </p:txBody>
      </p:sp>
      <p:sp>
        <p:nvSpPr>
          <p:cNvPr id="4" name="Slide Number Placeholder 3"/>
          <p:cNvSpPr>
            <a:spLocks noGrp="1"/>
          </p:cNvSpPr>
          <p:nvPr>
            <p:ph type="sldNum" sz="quarter" idx="10"/>
          </p:nvPr>
        </p:nvSpPr>
        <p:spPr/>
        <p:txBody>
          <a:bodyPr/>
          <a:lstStyle/>
          <a:p>
            <a:fld id="{50AD15A5-6128-B84F-818D-8AA5BDD9AF9D}" type="slidenum">
              <a:rPr lang="en-US" smtClean="0"/>
              <a:pPr/>
              <a:t>13</a:t>
            </a:fld>
            <a:endParaRPr lang="en-US" dirty="0"/>
          </a:p>
        </p:txBody>
      </p:sp>
    </p:spTree>
    <p:extLst>
      <p:ext uri="{BB962C8B-B14F-4D97-AF65-F5344CB8AC3E}">
        <p14:creationId xmlns:p14="http://schemas.microsoft.com/office/powerpoint/2010/main" val="39644640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14</a:t>
            </a:fld>
            <a:endParaRPr lang="en-US" dirty="0"/>
          </a:p>
        </p:txBody>
      </p:sp>
    </p:spTree>
    <p:extLst>
      <p:ext uri="{BB962C8B-B14F-4D97-AF65-F5344CB8AC3E}">
        <p14:creationId xmlns:p14="http://schemas.microsoft.com/office/powerpoint/2010/main" val="16768512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50AD15A5-6128-B84F-818D-8AA5BDD9AF9D}" type="slidenum">
              <a:rPr lang="en-US" smtClean="0"/>
              <a:pPr/>
              <a:t>16</a:t>
            </a:fld>
            <a:endParaRPr lang="en-US" dirty="0"/>
          </a:p>
        </p:txBody>
      </p:sp>
    </p:spTree>
    <p:extLst>
      <p:ext uri="{BB962C8B-B14F-4D97-AF65-F5344CB8AC3E}">
        <p14:creationId xmlns:p14="http://schemas.microsoft.com/office/powerpoint/2010/main" val="26798275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oviders: </a:t>
            </a:r>
          </a:p>
          <a:p>
            <a:r>
              <a:rPr lang="en-US" dirty="0"/>
              <a:t>need to have the same information</a:t>
            </a:r>
          </a:p>
          <a:p>
            <a:endParaRPr lang="en-US" dirty="0"/>
          </a:p>
        </p:txBody>
      </p:sp>
      <p:sp>
        <p:nvSpPr>
          <p:cNvPr id="4" name="Slide Number Placeholder 3"/>
          <p:cNvSpPr>
            <a:spLocks noGrp="1"/>
          </p:cNvSpPr>
          <p:nvPr>
            <p:ph type="sldNum" sz="quarter" idx="5"/>
          </p:nvPr>
        </p:nvSpPr>
        <p:spPr/>
        <p:txBody>
          <a:bodyPr/>
          <a:lstStyle/>
          <a:p>
            <a:fld id="{50AD15A5-6128-B84F-818D-8AA5BDD9AF9D}" type="slidenum">
              <a:rPr lang="en-US" smtClean="0"/>
              <a:pPr/>
              <a:t>17</a:t>
            </a:fld>
            <a:endParaRPr lang="en-US" dirty="0"/>
          </a:p>
        </p:txBody>
      </p:sp>
    </p:spTree>
    <p:extLst>
      <p:ext uri="{BB962C8B-B14F-4D97-AF65-F5344CB8AC3E}">
        <p14:creationId xmlns:p14="http://schemas.microsoft.com/office/powerpoint/2010/main" val="13662632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0AD15A5-6128-B84F-818D-8AA5BDD9AF9D}" type="slidenum">
              <a:rPr lang="en-US" smtClean="0"/>
              <a:pPr/>
              <a:t>18</a:t>
            </a:fld>
            <a:endParaRPr lang="en-US" dirty="0"/>
          </a:p>
        </p:txBody>
      </p:sp>
    </p:spTree>
    <p:extLst>
      <p:ext uri="{BB962C8B-B14F-4D97-AF65-F5344CB8AC3E}">
        <p14:creationId xmlns:p14="http://schemas.microsoft.com/office/powerpoint/2010/main" val="20781823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Tx/>
              <a:buChar char="-"/>
            </a:pPr>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21</a:t>
            </a:fld>
            <a:endParaRPr lang="en-US" dirty="0"/>
          </a:p>
        </p:txBody>
      </p:sp>
    </p:spTree>
    <p:extLst>
      <p:ext uri="{BB962C8B-B14F-4D97-AF65-F5344CB8AC3E}">
        <p14:creationId xmlns:p14="http://schemas.microsoft.com/office/powerpoint/2010/main" val="35589874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There are many, many independent business driven, sometimes disconnected silos of clinical capabilities spread across the enterprise causing inconsistent results, business and customer confusion and extra costs. </a:t>
            </a:r>
          </a:p>
          <a:p>
            <a:pPr marL="0" indent="0">
              <a:buFontTx/>
              <a:buNone/>
            </a:pPr>
            <a:r>
              <a:rPr lang="en-US" dirty="0"/>
              <a:t>A Clinical Platform reconciles all of CVS’s clinical systems and capabilities into </a:t>
            </a:r>
            <a:r>
              <a:rPr lang="en-US"/>
              <a:t>one platform </a:t>
            </a:r>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23</a:t>
            </a:fld>
            <a:endParaRPr lang="en-US" dirty="0"/>
          </a:p>
        </p:txBody>
      </p:sp>
    </p:spTree>
    <p:extLst>
      <p:ext uri="{BB962C8B-B14F-4D97-AF65-F5344CB8AC3E}">
        <p14:creationId xmlns:p14="http://schemas.microsoft.com/office/powerpoint/2010/main" val="37390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2</a:t>
            </a:fld>
            <a:endParaRPr lang="en-US" dirty="0"/>
          </a:p>
        </p:txBody>
      </p:sp>
    </p:spTree>
    <p:extLst>
      <p:ext uri="{BB962C8B-B14F-4D97-AF65-F5344CB8AC3E}">
        <p14:creationId xmlns:p14="http://schemas.microsoft.com/office/powerpoint/2010/main" val="35016074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Platform: (McKinsey) : Platforms focus on business solutions to serve clients (internal or external). They operate as independent entities that bring together business, technology, governance, processes, and people management and are empowered to move quickly. </a:t>
            </a:r>
          </a:p>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Platform: </a:t>
            </a:r>
            <a:r>
              <a:rPr lang="en-US"/>
              <a:t>(Wikipedia) :  A platform is a business model that creates value by facilitating exchanges between two or more interdependent groups. </a:t>
            </a:r>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The theme:   </a:t>
            </a:r>
            <a:r>
              <a:rPr lang="en-US" u="sng" dirty="0"/>
              <a:t>Consistency of Programs, customer messages/experience and overall CVS cost of ownership – are critical factors….. .  </a:t>
            </a:r>
          </a:p>
          <a:p>
            <a:pPr lvl="0"/>
            <a:r>
              <a:rPr lang="en-US" dirty="0"/>
              <a:t>Business owners across our enterprise are trying to run their business the best way they know.  Many have full autonomy to make enterprise independent decisions - whatever is best for their business.  Some business owners are now seeing the cost in those independent decisions  via -  duplicated programs, analysis, systems and platforms causing much, much higher costs of integration, analysis and maintenance.   </a:t>
            </a:r>
          </a:p>
        </p:txBody>
      </p:sp>
      <p:sp>
        <p:nvSpPr>
          <p:cNvPr id="4" name="Slide Number Placeholder 3"/>
          <p:cNvSpPr>
            <a:spLocks noGrp="1"/>
          </p:cNvSpPr>
          <p:nvPr>
            <p:ph type="sldNum" sz="quarter" idx="10"/>
          </p:nvPr>
        </p:nvSpPr>
        <p:spPr/>
        <p:txBody>
          <a:bodyPr/>
          <a:lstStyle/>
          <a:p>
            <a:fld id="{50AD15A5-6128-B84F-818D-8AA5BDD9AF9D}" type="slidenum">
              <a:rPr lang="en-US" smtClean="0"/>
              <a:pPr/>
              <a:t>3</a:t>
            </a:fld>
            <a:endParaRPr lang="en-US" dirty="0"/>
          </a:p>
        </p:txBody>
      </p:sp>
    </p:spTree>
    <p:extLst>
      <p:ext uri="{BB962C8B-B14F-4D97-AF65-F5344CB8AC3E}">
        <p14:creationId xmlns:p14="http://schemas.microsoft.com/office/powerpoint/2010/main" val="24274422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0000"/>
              </a:lnSpc>
              <a:spcAft>
                <a:spcPts val="815"/>
              </a:spcAft>
            </a:pPr>
            <a:r>
              <a:rPr lang="en-US" dirty="0">
                <a:solidFill>
                  <a:schemeClr val="tx1">
                    <a:lumMod val="75000"/>
                    <a:lumOff val="25000"/>
                  </a:schemeClr>
                </a:solidFill>
                <a:ea typeface="Open Sans" charset="0"/>
              </a:rPr>
              <a:t>Next 2 slides for different perspectives </a:t>
            </a:r>
          </a:p>
          <a:p>
            <a:pPr marL="0" marR="0" lvl="0" indent="0" algn="l" defTabSz="457200" rtl="0" eaLnBrk="1" fontAlgn="auto" latinLnBrk="0" hangingPunct="1">
              <a:lnSpc>
                <a:spcPct val="110000"/>
              </a:lnSpc>
              <a:spcBef>
                <a:spcPts val="0"/>
              </a:spcBef>
              <a:spcAft>
                <a:spcPts val="815"/>
              </a:spcAft>
              <a:buClrTx/>
              <a:buSzTx/>
              <a:buFontTx/>
              <a:buNone/>
              <a:tabLst/>
              <a:defRPr/>
            </a:pPr>
            <a:r>
              <a:rPr lang="en-US" dirty="0"/>
              <a:t>The theme:   </a:t>
            </a:r>
            <a:r>
              <a:rPr lang="en-US" u="sng" dirty="0"/>
              <a:t>Consistency of Programs, customer messages/experience and overall CVS cost of ownership.  </a:t>
            </a:r>
          </a:p>
        </p:txBody>
      </p:sp>
      <p:sp>
        <p:nvSpPr>
          <p:cNvPr id="4" name="Slide Number Placeholder 3"/>
          <p:cNvSpPr>
            <a:spLocks noGrp="1"/>
          </p:cNvSpPr>
          <p:nvPr>
            <p:ph type="sldNum" sz="quarter" idx="10"/>
          </p:nvPr>
        </p:nvSpPr>
        <p:spPr/>
        <p:txBody>
          <a:bodyPr/>
          <a:lstStyle/>
          <a:p>
            <a:fld id="{50AD15A5-6128-B84F-818D-8AA5BDD9AF9D}" type="slidenum">
              <a:rPr lang="en-US" smtClean="0"/>
              <a:pPr/>
              <a:t>4</a:t>
            </a:fld>
            <a:endParaRPr lang="en-US" dirty="0"/>
          </a:p>
        </p:txBody>
      </p:sp>
    </p:spTree>
    <p:extLst>
      <p:ext uri="{BB962C8B-B14F-4D97-AF65-F5344CB8AC3E}">
        <p14:creationId xmlns:p14="http://schemas.microsoft.com/office/powerpoint/2010/main" val="3574547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 instances of Epic </a:t>
            </a:r>
          </a:p>
        </p:txBody>
      </p:sp>
      <p:sp>
        <p:nvSpPr>
          <p:cNvPr id="4" name="Slide Number Placeholder 3"/>
          <p:cNvSpPr>
            <a:spLocks noGrp="1"/>
          </p:cNvSpPr>
          <p:nvPr>
            <p:ph type="sldNum" sz="quarter" idx="5"/>
          </p:nvPr>
        </p:nvSpPr>
        <p:spPr/>
        <p:txBody>
          <a:bodyPr/>
          <a:lstStyle/>
          <a:p>
            <a:fld id="{50AD15A5-6128-B84F-818D-8AA5BDD9AF9D}" type="slidenum">
              <a:rPr lang="en-US" smtClean="0"/>
              <a:pPr/>
              <a:t>5</a:t>
            </a:fld>
            <a:endParaRPr lang="en-US" dirty="0"/>
          </a:p>
        </p:txBody>
      </p:sp>
    </p:spTree>
    <p:extLst>
      <p:ext uri="{BB962C8B-B14F-4D97-AF65-F5344CB8AC3E}">
        <p14:creationId xmlns:p14="http://schemas.microsoft.com/office/powerpoint/2010/main" val="14415021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04"/>
        <p:cNvGrpSpPr/>
        <p:nvPr/>
      </p:nvGrpSpPr>
      <p:grpSpPr>
        <a:xfrm>
          <a:off x="0" y="0"/>
          <a:ext cx="0" cy="0"/>
          <a:chOff x="0" y="0"/>
          <a:chExt cx="0" cy="0"/>
        </a:xfrm>
      </p:grpSpPr>
      <p:sp>
        <p:nvSpPr>
          <p:cNvPr id="2505" name="Shape 2505"/>
          <p:cNvSpPr>
            <a:spLocks noGrp="1" noRot="1" noChangeAspect="1"/>
          </p:cNvSpPr>
          <p:nvPr>
            <p:ph type="sldImg" idx="2"/>
          </p:nvPr>
        </p:nvSpPr>
        <p:spPr>
          <a:xfrm>
            <a:off x="74613" y="739775"/>
            <a:ext cx="6569075" cy="36957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506" name="Shape 2506"/>
          <p:cNvSpPr txBox="1">
            <a:spLocks noGrp="1"/>
          </p:cNvSpPr>
          <p:nvPr>
            <p:ph type="body" idx="1"/>
          </p:nvPr>
        </p:nvSpPr>
        <p:spPr>
          <a:xfrm>
            <a:off x="671829" y="4681221"/>
            <a:ext cx="5374640" cy="4434839"/>
          </a:xfrm>
          <a:prstGeom prst="rect">
            <a:avLst/>
          </a:prstGeom>
          <a:noFill/>
          <a:ln>
            <a:noFill/>
          </a:ln>
        </p:spPr>
        <p:txBody>
          <a:bodyPr lIns="90450" tIns="45225" rIns="90450" bIns="45225" anchor="t" anchorCtr="0">
            <a:noAutofit/>
          </a:bodyPr>
          <a:lstStyle/>
          <a:p>
            <a:pPr marL="0" marR="0" lvl="0" indent="0" algn="l" rtl="0">
              <a:spcBef>
                <a:spcPts val="0"/>
              </a:spcBef>
              <a:buClr>
                <a:schemeClr val="dk1"/>
              </a:buClr>
              <a:buSzPct val="25000"/>
              <a:buFont typeface="Arial"/>
              <a:buNone/>
            </a:pPr>
            <a:r>
              <a:rPr lang="en-US" sz="1200" b="0" i="0" u="none" strike="noStrike" cap="none" dirty="0">
                <a:solidFill>
                  <a:schemeClr val="dk1"/>
                </a:solidFill>
                <a:latin typeface="Calibri"/>
                <a:ea typeface="Calibri"/>
                <a:cs typeface="Calibri"/>
                <a:sym typeface="Calibri"/>
              </a:rPr>
              <a:t>We need strong and possibly patient leadership to express doing “things right” the first time, rather than doing things fast and inefficient. </a:t>
            </a:r>
          </a:p>
          <a:p>
            <a:pPr marL="0" marR="0" lvl="0" indent="0" algn="l" defTabSz="457200" rtl="0" eaLnBrk="1" fontAlgn="auto" latinLnBrk="0" hangingPunct="1">
              <a:lnSpc>
                <a:spcPct val="100000"/>
              </a:lnSpc>
              <a:spcBef>
                <a:spcPts val="0"/>
              </a:spcBef>
              <a:spcAft>
                <a:spcPts val="0"/>
              </a:spcAft>
              <a:buClr>
                <a:schemeClr val="dk1"/>
              </a:buClr>
              <a:buSzPct val="25000"/>
              <a:buFont typeface="Arial"/>
              <a:buNone/>
              <a:tabLst/>
              <a:defRPr/>
            </a:pPr>
            <a:r>
              <a:rPr lang="en-US" dirty="0"/>
              <a:t>The theme:   </a:t>
            </a:r>
            <a:r>
              <a:rPr lang="en-US" u="sng" dirty="0"/>
              <a:t>Consistency of Programs, customer messages/experience and overall CVS cost of ownership.  </a:t>
            </a:r>
          </a:p>
          <a:p>
            <a:pPr marL="0" marR="0" lvl="0" indent="0" algn="l" rtl="0">
              <a:spcBef>
                <a:spcPts val="0"/>
              </a:spcBef>
              <a:buClr>
                <a:schemeClr val="dk1"/>
              </a:buClr>
              <a:buSzPct val="25000"/>
              <a:buFont typeface="Arial"/>
              <a:buNone/>
            </a:pPr>
            <a:endParaRPr sz="1200" b="0" i="0" u="none" strike="noStrike" cap="none" dirty="0">
              <a:solidFill>
                <a:schemeClr val="dk1"/>
              </a:solidFill>
              <a:latin typeface="Calibri"/>
              <a:ea typeface="Calibri"/>
              <a:cs typeface="Calibri"/>
              <a:sym typeface="Calibri"/>
            </a:endParaRPr>
          </a:p>
        </p:txBody>
      </p:sp>
      <p:sp>
        <p:nvSpPr>
          <p:cNvPr id="2507" name="Shape 2507"/>
          <p:cNvSpPr txBox="1">
            <a:spLocks noGrp="1"/>
          </p:cNvSpPr>
          <p:nvPr>
            <p:ph type="sldNum" idx="12"/>
          </p:nvPr>
        </p:nvSpPr>
        <p:spPr>
          <a:xfrm>
            <a:off x="3805482" y="9360728"/>
            <a:ext cx="2911263" cy="492760"/>
          </a:xfrm>
          <a:prstGeom prst="rect">
            <a:avLst/>
          </a:prstGeom>
          <a:noFill/>
          <a:ln>
            <a:noFill/>
          </a:ln>
        </p:spPr>
        <p:txBody>
          <a:bodyPr lIns="90450" tIns="45225" rIns="90450" bIns="45225" anchor="b" anchorCtr="0">
            <a:noAutofit/>
          </a:bodyPr>
          <a:lstStyle/>
          <a:p>
            <a:pPr marL="0" marR="0" lvl="0" indent="0" algn="r" defTabSz="912732" rtl="0" eaLnBrk="1" fontAlgn="auto" latinLnBrk="0" hangingPunct="1">
              <a:lnSpc>
                <a:spcPct val="100000"/>
              </a:lnSpc>
              <a:spcBef>
                <a:spcPts val="0"/>
              </a:spcBef>
              <a:spcAft>
                <a:spcPts val="0"/>
              </a:spcAft>
              <a:buClr>
                <a:prstClr val="black"/>
              </a:buClr>
              <a:buSzPct val="25000"/>
              <a:buFont typeface="Calibri"/>
              <a:buNone/>
              <a:tabLst/>
              <a:defRPr/>
            </a:pPr>
            <a:fld id="{00000000-1234-1234-1234-123412341234}" type="slidenum">
              <a:rPr kumimoji="0" lang="en-GB" sz="1200" b="0" i="0" u="none" strike="noStrike" kern="1200" cap="none" spc="0" normalizeH="0" baseline="0" noProof="0">
                <a:ln>
                  <a:noFill/>
                </a:ln>
                <a:solidFill>
                  <a:prstClr val="black"/>
                </a:solidFill>
                <a:effectLst/>
                <a:uLnTx/>
                <a:uFillTx/>
                <a:latin typeface="Calibri"/>
                <a:ea typeface="Calibri"/>
                <a:cs typeface="Calibri"/>
                <a:sym typeface="Calibri"/>
              </a:rPr>
              <a:pPr marL="0" marR="0" lvl="0" indent="0" algn="r" defTabSz="912732" rtl="0" eaLnBrk="1" fontAlgn="auto" latinLnBrk="0" hangingPunct="1">
                <a:lnSpc>
                  <a:spcPct val="100000"/>
                </a:lnSpc>
                <a:spcBef>
                  <a:spcPts val="0"/>
                </a:spcBef>
                <a:spcAft>
                  <a:spcPts val="0"/>
                </a:spcAft>
                <a:buClr>
                  <a:prstClr val="black"/>
                </a:buClr>
                <a:buSzPct val="25000"/>
                <a:buFont typeface="Calibri"/>
                <a:buNone/>
                <a:tabLst/>
                <a:defRPr/>
              </a:pPr>
              <a:t>6</a:t>
            </a:fld>
            <a:endParaRPr kumimoji="0" lang="en-GB"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9007352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The theme:   </a:t>
            </a:r>
            <a:r>
              <a:rPr lang="en-US" u="sng" dirty="0"/>
              <a:t>Consistency of Programs, customer messages/experience and </a:t>
            </a:r>
            <a:r>
              <a:rPr lang="en-US" u="sng" dirty="0">
                <a:highlight>
                  <a:srgbClr val="FFFF00"/>
                </a:highlight>
              </a:rPr>
              <a:t>overall CVS cost of ownership</a:t>
            </a:r>
            <a:r>
              <a:rPr lang="en-US" u="sng" dirty="0"/>
              <a:t>.  Simplifying our footprint will make it easier for CVS to adopt and serve our customers better</a:t>
            </a:r>
          </a:p>
        </p:txBody>
      </p:sp>
      <p:sp>
        <p:nvSpPr>
          <p:cNvPr id="4" name="Slide Number Placeholder 3"/>
          <p:cNvSpPr>
            <a:spLocks noGrp="1"/>
          </p:cNvSpPr>
          <p:nvPr>
            <p:ph type="sldNum" sz="quarter" idx="10"/>
          </p:nvPr>
        </p:nvSpPr>
        <p:spPr/>
        <p:txBody>
          <a:bodyPr/>
          <a:lstStyle/>
          <a:p>
            <a:fld id="{50AD15A5-6128-B84F-818D-8AA5BDD9AF9D}" type="slidenum">
              <a:rPr lang="en-US" smtClean="0"/>
              <a:pPr/>
              <a:t>7</a:t>
            </a:fld>
            <a:endParaRPr lang="en-US" dirty="0"/>
          </a:p>
        </p:txBody>
      </p:sp>
    </p:spTree>
    <p:extLst>
      <p:ext uri="{BB962C8B-B14F-4D97-AF65-F5344CB8AC3E}">
        <p14:creationId xmlns:p14="http://schemas.microsoft.com/office/powerpoint/2010/main" val="3574547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10000"/>
              </a:lnSpc>
              <a:spcBef>
                <a:spcPts val="0"/>
              </a:spcBef>
              <a:spcAft>
                <a:spcPts val="815"/>
              </a:spcAft>
              <a:buClrTx/>
              <a:buSzTx/>
              <a:buFontTx/>
              <a:buNone/>
              <a:tabLst/>
              <a:defRPr/>
            </a:pPr>
            <a:r>
              <a:rPr lang="en-US" dirty="0"/>
              <a:t>How does Clinical map to the overall CVS Strategy?</a:t>
            </a:r>
          </a:p>
          <a:p>
            <a:pPr marL="0" marR="0" lvl="0" indent="0" algn="l" defTabSz="457200" rtl="0" eaLnBrk="1" fontAlgn="auto" latinLnBrk="0" hangingPunct="1">
              <a:lnSpc>
                <a:spcPct val="110000"/>
              </a:lnSpc>
              <a:spcBef>
                <a:spcPts val="0"/>
              </a:spcBef>
              <a:spcAft>
                <a:spcPts val="815"/>
              </a:spcAft>
              <a:buClrTx/>
              <a:buSzTx/>
              <a:buFontTx/>
              <a:buNone/>
              <a:tabLst/>
              <a:defRPr/>
            </a:pPr>
            <a:r>
              <a:rPr lang="en-US" dirty="0"/>
              <a:t>The theme:  The theme:   </a:t>
            </a:r>
            <a:r>
              <a:rPr lang="en-US" u="sng" dirty="0"/>
              <a:t>Consistency of Programs, customer messages/experience and overall CVS cost of ownership.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AD15A5-6128-B84F-818D-8AA5BDD9AF9D}" type="slidenum">
              <a:rPr kumimoji="0" lang="en-US" sz="1000" b="0" i="0" u="none" strike="noStrike" kern="1200" cap="none" spc="0" normalizeH="0" baseline="0" noProof="0" smtClean="0">
                <a:ln>
                  <a:noFill/>
                </a:ln>
                <a:solidFill>
                  <a:prstClr val="black"/>
                </a:solidFill>
                <a:effectLst/>
                <a:uLnTx/>
                <a:uFillTx/>
                <a:latin typeface="Open Sans Light"/>
                <a:ea typeface="+mn-ea"/>
                <a:cs typeface="Open Sans Light"/>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000" b="0" i="0" u="none" strike="noStrike" kern="1200" cap="none" spc="0" normalizeH="0" baseline="0" noProof="0">
              <a:ln>
                <a:noFill/>
              </a:ln>
              <a:solidFill>
                <a:prstClr val="black"/>
              </a:solidFill>
              <a:effectLst/>
              <a:uLnTx/>
              <a:uFillTx/>
              <a:latin typeface="Open Sans Light"/>
              <a:ea typeface="+mn-ea"/>
              <a:cs typeface="Open Sans Light"/>
            </a:endParaRPr>
          </a:p>
        </p:txBody>
      </p:sp>
    </p:spTree>
    <p:extLst>
      <p:ext uri="{BB962C8B-B14F-4D97-AF65-F5344CB8AC3E}">
        <p14:creationId xmlns:p14="http://schemas.microsoft.com/office/powerpoint/2010/main" val="37600691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VS Landscape</a:t>
            </a:r>
          </a:p>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The theme:   </a:t>
            </a:r>
            <a:r>
              <a:rPr lang="en-US" u="sng" dirty="0"/>
              <a:t>Consistency of Programs, customer messages/experience and overall CVS cost of ownership.  </a:t>
            </a:r>
          </a:p>
        </p:txBody>
      </p:sp>
      <p:sp>
        <p:nvSpPr>
          <p:cNvPr id="4" name="Slide Number Placeholder 3"/>
          <p:cNvSpPr>
            <a:spLocks noGrp="1"/>
          </p:cNvSpPr>
          <p:nvPr>
            <p:ph type="sldNum" sz="quarter" idx="10"/>
          </p:nvPr>
        </p:nvSpPr>
        <p:spPr/>
        <p:txBody>
          <a:bodyPr/>
          <a:lstStyle/>
          <a:p>
            <a:fld id="{50AD15A5-6128-B84F-818D-8AA5BDD9AF9D}" type="slidenum">
              <a:rPr lang="en-US" smtClean="0"/>
              <a:pPr/>
              <a:t>9</a:t>
            </a:fld>
            <a:endParaRPr lang="en-US" dirty="0"/>
          </a:p>
        </p:txBody>
      </p:sp>
    </p:spTree>
    <p:extLst>
      <p:ext uri="{BB962C8B-B14F-4D97-AF65-F5344CB8AC3E}">
        <p14:creationId xmlns:p14="http://schemas.microsoft.com/office/powerpoint/2010/main" val="8472579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64E69"/>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657111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9" name="think-cell Slide" r:id="rId4" imgW="498" imgH="499" progId="TCLayout.ActiveDocument.1">
                  <p:embed/>
                </p:oleObj>
              </mc:Choice>
              <mc:Fallback>
                <p:oleObj name="think-cell Slide" r:id="rId4" imgW="498" imgH="49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a:spLocks noChangeAspect="1"/>
          </p:cNvSpPr>
          <p:nvPr/>
        </p:nvSpPr>
        <p:spPr>
          <a:xfrm>
            <a:off x="7751366" y="0"/>
            <a:ext cx="444063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solidFill>
                <a:schemeClr val="accent4"/>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p:cNvSpPr/>
          <p:nvPr/>
        </p:nvSpPr>
        <p:spPr>
          <a:xfrm>
            <a:off x="7629890" y="0"/>
            <a:ext cx="121476" cy="685800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Arial" panose="020B0604020202020204" pitchFamily="34" charset="0"/>
              <a:cs typeface="Arial" panose="020B0604020202020204" pitchFamily="34" charset="0"/>
              <a:sym typeface="Arial" panose="020B0604020202020204" pitchFamily="34" charset="0"/>
            </a:endParaRPr>
          </a:p>
        </p:txBody>
      </p:sp>
      <p:grpSp>
        <p:nvGrpSpPr>
          <p:cNvPr id="10" name="Group 9"/>
          <p:cNvGrpSpPr/>
          <p:nvPr userDrawn="1"/>
        </p:nvGrpSpPr>
        <p:grpSpPr>
          <a:xfrm>
            <a:off x="834187" y="5051932"/>
            <a:ext cx="2121961" cy="1172755"/>
            <a:chOff x="834187" y="5007328"/>
            <a:chExt cx="2121961" cy="1172755"/>
          </a:xfrm>
        </p:grpSpPr>
        <p:sp>
          <p:nvSpPr>
            <p:cNvPr id="12" name="TextBox 11"/>
            <p:cNvSpPr txBox="1">
              <a:spLocks/>
            </p:cNvSpPr>
            <p:nvPr/>
          </p:nvSpPr>
          <p:spPr>
            <a:xfrm>
              <a:off x="1476280" y="5399774"/>
              <a:ext cx="335594" cy="263468"/>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3" name="TextBox 12"/>
            <p:cNvSpPr txBox="1">
              <a:spLocks/>
            </p:cNvSpPr>
            <p:nvPr/>
          </p:nvSpPr>
          <p:spPr>
            <a:xfrm>
              <a:off x="1205971" y="5416132"/>
              <a:ext cx="250308" cy="25059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4" name="TextBox 13"/>
            <p:cNvSpPr txBox="1">
              <a:spLocks/>
            </p:cNvSpPr>
            <p:nvPr/>
          </p:nvSpPr>
          <p:spPr>
            <a:xfrm>
              <a:off x="1840684" y="5487481"/>
              <a:ext cx="169193" cy="17924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5" name="TextBox 14"/>
            <p:cNvSpPr txBox="1">
              <a:spLocks/>
            </p:cNvSpPr>
            <p:nvPr/>
          </p:nvSpPr>
          <p:spPr>
            <a:xfrm>
              <a:off x="2024603" y="5487481"/>
              <a:ext cx="173719" cy="17924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6" name="TextBox 15"/>
            <p:cNvSpPr txBox="1">
              <a:spLocks/>
            </p:cNvSpPr>
            <p:nvPr/>
          </p:nvSpPr>
          <p:spPr>
            <a:xfrm>
              <a:off x="1727626" y="5490962"/>
              <a:ext cx="97129" cy="172281"/>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7" name="TextBox 16"/>
            <p:cNvSpPr txBox="1">
              <a:spLocks/>
            </p:cNvSpPr>
            <p:nvPr/>
          </p:nvSpPr>
          <p:spPr>
            <a:xfrm>
              <a:off x="1909962" y="5713507"/>
              <a:ext cx="223154" cy="25059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8" name="TextBox 17"/>
            <p:cNvSpPr txBox="1">
              <a:spLocks/>
            </p:cNvSpPr>
            <p:nvPr/>
          </p:nvSpPr>
          <p:spPr>
            <a:xfrm>
              <a:off x="2422311" y="5713507"/>
              <a:ext cx="250308" cy="25059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9" name="TextBox 18"/>
            <p:cNvSpPr txBox="1">
              <a:spLocks/>
            </p:cNvSpPr>
            <p:nvPr/>
          </p:nvSpPr>
          <p:spPr>
            <a:xfrm>
              <a:off x="2148125" y="5713855"/>
              <a:ext cx="257619" cy="2467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25" name="Group 24"/>
            <p:cNvGrpSpPr/>
            <p:nvPr/>
          </p:nvGrpSpPr>
          <p:grpSpPr>
            <a:xfrm>
              <a:off x="1465810" y="5723666"/>
              <a:ext cx="414429" cy="91688"/>
              <a:chOff x="1465428" y="5723666"/>
              <a:chExt cx="414321" cy="91688"/>
            </a:xfrm>
          </p:grpSpPr>
          <p:sp>
            <p:nvSpPr>
              <p:cNvPr id="20" name="TextBox 19"/>
              <p:cNvSpPr txBox="1">
                <a:spLocks/>
              </p:cNvSpPr>
              <p:nvPr/>
            </p:nvSpPr>
            <p:spPr>
              <a:xfrm>
                <a:off x="1465428" y="5723666"/>
                <a:ext cx="90135" cy="91688"/>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1" name="TextBox 20"/>
              <p:cNvSpPr txBox="1">
                <a:spLocks/>
              </p:cNvSpPr>
              <p:nvPr/>
            </p:nvSpPr>
            <p:spPr>
              <a:xfrm>
                <a:off x="1569024" y="5725066"/>
                <a:ext cx="54618" cy="89069"/>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2" name="TextBox 21"/>
              <p:cNvSpPr txBox="1">
                <a:spLocks/>
              </p:cNvSpPr>
              <p:nvPr/>
            </p:nvSpPr>
            <p:spPr>
              <a:xfrm>
                <a:off x="1648696" y="5725066"/>
                <a:ext cx="73449" cy="89069"/>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3" name="TextBox 22"/>
              <p:cNvSpPr txBox="1">
                <a:spLocks/>
              </p:cNvSpPr>
              <p:nvPr/>
            </p:nvSpPr>
            <p:spPr>
              <a:xfrm>
                <a:off x="1733195" y="5725066"/>
                <a:ext cx="74387" cy="89069"/>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4" name="TextBox 23"/>
              <p:cNvSpPr txBox="1">
                <a:spLocks/>
              </p:cNvSpPr>
              <p:nvPr/>
            </p:nvSpPr>
            <p:spPr>
              <a:xfrm>
                <a:off x="1825131" y="5725066"/>
                <a:ext cx="54618" cy="89069"/>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11" name="Freeform 9"/>
            <p:cNvSpPr>
              <a:spLocks noEditPoints="1"/>
            </p:cNvSpPr>
            <p:nvPr/>
          </p:nvSpPr>
          <p:spPr bwMode="auto">
            <a:xfrm>
              <a:off x="834187" y="5007328"/>
              <a:ext cx="2121961" cy="1172755"/>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p:spPr>
          <p:txBody>
            <a:bodyPr vert="horz" wrap="square" lIns="91440" tIns="45720" rIns="91440" bIns="45720" numCol="1" anchor="t" anchorCtr="0" compatLnSpc="1">
              <a:prstTxWarp prst="textNoShape">
                <a:avLst/>
              </a:prstTxWarp>
            </a:bodyPr>
            <a:lstStyle/>
            <a:p>
              <a:endParaRPr lang="en-US" sz="1800">
                <a:latin typeface="Arial" panose="020B0604020202020204" pitchFamily="34" charset="0"/>
                <a:cs typeface="Arial" panose="020B0604020202020204" pitchFamily="34" charset="0"/>
                <a:sym typeface="Arial" panose="020B0604020202020204" pitchFamily="34" charset="0"/>
              </a:endParaRPr>
            </a:p>
          </p:txBody>
        </p:sp>
      </p:grpSp>
      <p:sp>
        <p:nvSpPr>
          <p:cNvPr id="26" name="Text Placeholder 7"/>
          <p:cNvSpPr>
            <a:spLocks noGrp="1"/>
          </p:cNvSpPr>
          <p:nvPr>
            <p:ph type="body" sz="quarter" idx="11" hasCustomPrompt="1"/>
          </p:nvPr>
        </p:nvSpPr>
        <p:spPr>
          <a:xfrm>
            <a:off x="4078427" y="5460984"/>
            <a:ext cx="2844943" cy="431800"/>
          </a:xfrm>
          <a:prstGeom prst="rect">
            <a:avLst/>
          </a:prstGeom>
        </p:spPr>
        <p:txBody>
          <a:bodyPr rIns="0" anchor="b"/>
          <a:lstStyle>
            <a:lvl1pPr algn="r">
              <a:defRPr sz="1200"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Presenter Name</a:t>
            </a:r>
            <a:endParaRPr lang="tr-TR" dirty="0"/>
          </a:p>
        </p:txBody>
      </p:sp>
      <p:sp>
        <p:nvSpPr>
          <p:cNvPr id="27" name="Title 1"/>
          <p:cNvSpPr>
            <a:spLocks noGrp="1"/>
          </p:cNvSpPr>
          <p:nvPr>
            <p:ph type="ctrTitle" hasCustomPrompt="1"/>
          </p:nvPr>
        </p:nvSpPr>
        <p:spPr>
          <a:xfrm>
            <a:off x="822960" y="640080"/>
            <a:ext cx="5585018" cy="2630356"/>
          </a:xfrm>
          <a:prstGeom prst="rect">
            <a:avLst/>
          </a:prstGeom>
        </p:spPr>
        <p:txBody>
          <a:bodyPr lIns="0" anchor="t"/>
          <a:lstStyle>
            <a:lvl1pPr algn="l">
              <a:lnSpc>
                <a:spcPct val="80000"/>
              </a:lnSpc>
              <a:defRPr sz="7200"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dirty="0"/>
              <a:t>Cover Slide Title</a:t>
            </a:r>
          </a:p>
        </p:txBody>
      </p:sp>
      <p:sp>
        <p:nvSpPr>
          <p:cNvPr id="30" name="Text Placeholder 7"/>
          <p:cNvSpPr>
            <a:spLocks noGrp="1"/>
          </p:cNvSpPr>
          <p:nvPr>
            <p:ph type="body" sz="quarter" idx="12" hasCustomPrompt="1"/>
          </p:nvPr>
        </p:nvSpPr>
        <p:spPr>
          <a:xfrm>
            <a:off x="822960" y="3383280"/>
            <a:ext cx="5578857" cy="431800"/>
          </a:xfrm>
          <a:prstGeom prst="rect">
            <a:avLst/>
          </a:prstGeom>
        </p:spPr>
        <p:txBody>
          <a:bodyPr lIns="0" anchor="ctr" anchorCtr="0"/>
          <a:lstStyle>
            <a:lvl1pPr algn="l">
              <a:defRPr sz="2400"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Second Level Title</a:t>
            </a:r>
            <a:endParaRPr lang="tr-TR" dirty="0"/>
          </a:p>
        </p:txBody>
      </p:sp>
      <p:sp>
        <p:nvSpPr>
          <p:cNvPr id="31" name="Text Placeholder 7"/>
          <p:cNvSpPr>
            <a:spLocks noGrp="1"/>
          </p:cNvSpPr>
          <p:nvPr>
            <p:ph type="body" sz="quarter" idx="13" hasCustomPrompt="1"/>
          </p:nvPr>
        </p:nvSpPr>
        <p:spPr>
          <a:xfrm>
            <a:off x="4078427" y="5892928"/>
            <a:ext cx="2844943" cy="431800"/>
          </a:xfrm>
          <a:prstGeom prst="rect">
            <a:avLst/>
          </a:prstGeom>
        </p:spPr>
        <p:txBody>
          <a:bodyPr rIns="0" anchor="b"/>
          <a:lstStyle>
            <a:lvl1pPr algn="r">
              <a:defRPr sz="1800"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Date</a:t>
            </a:r>
            <a:endParaRPr lang="tr-TR" dirty="0"/>
          </a:p>
        </p:txBody>
      </p:sp>
      <p:sp>
        <p:nvSpPr>
          <p:cNvPr id="32" name="Picture Placeholder 5"/>
          <p:cNvSpPr>
            <a:spLocks noGrp="1"/>
          </p:cNvSpPr>
          <p:nvPr>
            <p:ph type="pic" sz="quarter" idx="14" hasCustomPrompt="1"/>
          </p:nvPr>
        </p:nvSpPr>
        <p:spPr>
          <a:xfrm>
            <a:off x="7751365" y="1"/>
            <a:ext cx="4440635" cy="3383280"/>
          </a:xfrm>
          <a:prstGeom prst="rect">
            <a:avLst/>
          </a:prstGeom>
          <a:solidFill>
            <a:schemeClr val="bg2"/>
          </a:solidFill>
        </p:spPr>
        <p:txBody>
          <a:bodyPr anchor="ctr"/>
          <a:lstStyle>
            <a:lvl1pPr algn="ctr">
              <a:defRPr sz="320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IMAGE</a:t>
            </a:r>
          </a:p>
        </p:txBody>
      </p:sp>
      <p:sp>
        <p:nvSpPr>
          <p:cNvPr id="28" name="Rectangle 27"/>
          <p:cNvSpPr/>
          <p:nvPr userDrawn="1"/>
        </p:nvSpPr>
        <p:spPr>
          <a:xfrm>
            <a:off x="7749346" y="3375049"/>
            <a:ext cx="4442654" cy="118872"/>
          </a:xfrm>
          <a:prstGeom prst="rect">
            <a:avLst/>
          </a:prstGeom>
          <a:solidFill>
            <a:srgbClr val="043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sym typeface="Arial" panose="020B0604020202020204" pitchFamily="34" charset="0"/>
            </a:endParaRPr>
          </a:p>
        </p:txBody>
      </p:sp>
      <p:grpSp>
        <p:nvGrpSpPr>
          <p:cNvPr id="33" name="Group 32">
            <a:extLst>
              <a:ext uri="{FF2B5EF4-FFF2-40B4-BE49-F238E27FC236}">
                <a16:creationId xmlns:a16="http://schemas.microsoft.com/office/drawing/2014/main" id="{0860573B-7502-4EE6-AE67-B3B2FFD71F32}"/>
              </a:ext>
            </a:extLst>
          </p:cNvPr>
          <p:cNvGrpSpPr>
            <a:grpSpLocks noChangeAspect="1"/>
          </p:cNvGrpSpPr>
          <p:nvPr userDrawn="1"/>
        </p:nvGrpSpPr>
        <p:grpSpPr>
          <a:xfrm>
            <a:off x="9472900" y="5931510"/>
            <a:ext cx="2192529" cy="292877"/>
            <a:chOff x="279400" y="2781300"/>
            <a:chExt cx="8585200" cy="1092200"/>
          </a:xfrm>
        </p:grpSpPr>
        <p:sp>
          <p:nvSpPr>
            <p:cNvPr id="34" name="Freeform 5">
              <a:extLst>
                <a:ext uri="{FF2B5EF4-FFF2-40B4-BE49-F238E27FC236}">
                  <a16:creationId xmlns:a16="http://schemas.microsoft.com/office/drawing/2014/main" id="{264CBBCF-7D70-4513-96B2-BDE78A1BE2AC}"/>
                </a:ext>
              </a:extLst>
            </p:cNvPr>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5" name="Freeform 6">
              <a:extLst>
                <a:ext uri="{FF2B5EF4-FFF2-40B4-BE49-F238E27FC236}">
                  <a16:creationId xmlns:a16="http://schemas.microsoft.com/office/drawing/2014/main" id="{CB55B7D8-3723-4CA7-83E2-4ECF2520F18B}"/>
                </a:ext>
              </a:extLst>
            </p:cNvPr>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6" name="Freeform 7">
              <a:extLst>
                <a:ext uri="{FF2B5EF4-FFF2-40B4-BE49-F238E27FC236}">
                  <a16:creationId xmlns:a16="http://schemas.microsoft.com/office/drawing/2014/main" id="{66826270-096D-4A0F-B57D-78D557210E97}"/>
                </a:ext>
              </a:extLst>
            </p:cNvPr>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7" name="Freeform 8">
              <a:extLst>
                <a:ext uri="{FF2B5EF4-FFF2-40B4-BE49-F238E27FC236}">
                  <a16:creationId xmlns:a16="http://schemas.microsoft.com/office/drawing/2014/main" id="{D644210C-71FB-46C2-BB06-3DAD03BC87A0}"/>
                </a:ext>
              </a:extLst>
            </p:cNvPr>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8" name="Freeform 9">
              <a:extLst>
                <a:ext uri="{FF2B5EF4-FFF2-40B4-BE49-F238E27FC236}">
                  <a16:creationId xmlns:a16="http://schemas.microsoft.com/office/drawing/2014/main" id="{6BD464F9-CB86-4782-98A8-138D13B22E79}"/>
                </a:ext>
              </a:extLst>
            </p:cNvPr>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9" name="Freeform 10">
              <a:extLst>
                <a:ext uri="{FF2B5EF4-FFF2-40B4-BE49-F238E27FC236}">
                  <a16:creationId xmlns:a16="http://schemas.microsoft.com/office/drawing/2014/main" id="{4A8BDCE4-6FCC-47A7-9CDE-4AC06B36DA13}"/>
                </a:ext>
              </a:extLst>
            </p:cNvPr>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0" name="Freeform 11">
              <a:extLst>
                <a:ext uri="{FF2B5EF4-FFF2-40B4-BE49-F238E27FC236}">
                  <a16:creationId xmlns:a16="http://schemas.microsoft.com/office/drawing/2014/main" id="{331AB147-689A-43A6-B970-E8CB2BE02D79}"/>
                </a:ext>
              </a:extLst>
            </p:cNvPr>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1" name="Freeform 12">
              <a:extLst>
                <a:ext uri="{FF2B5EF4-FFF2-40B4-BE49-F238E27FC236}">
                  <a16:creationId xmlns:a16="http://schemas.microsoft.com/office/drawing/2014/main" id="{AA8CC35E-627A-410D-9CC1-5DFD27072BFF}"/>
                </a:ext>
              </a:extLst>
            </p:cNvPr>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2" name="Freeform 13">
              <a:extLst>
                <a:ext uri="{FF2B5EF4-FFF2-40B4-BE49-F238E27FC236}">
                  <a16:creationId xmlns:a16="http://schemas.microsoft.com/office/drawing/2014/main" id="{A6104163-5896-46B6-AC7E-D2E4D25EC2F7}"/>
                </a:ext>
              </a:extLst>
            </p:cNvPr>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3" name="Freeform 14">
              <a:extLst>
                <a:ext uri="{FF2B5EF4-FFF2-40B4-BE49-F238E27FC236}">
                  <a16:creationId xmlns:a16="http://schemas.microsoft.com/office/drawing/2014/main" id="{481FE757-1FA8-48AB-BF72-DF393E4A3A65}"/>
                </a:ext>
              </a:extLst>
            </p:cNvPr>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ternal Slide - Photo Right Lar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19641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5" name="think-cell Slide" r:id="rId4" imgW="498" imgH="499" progId="TCLayout.ActiveDocument.1">
                  <p:embed/>
                </p:oleObj>
              </mc:Choice>
              <mc:Fallback>
                <p:oleObj name="think-cell Slide" r:id="rId4" imgW="498" imgH="499"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Picture Placeholder 5"/>
          <p:cNvSpPr>
            <a:spLocks noGrp="1"/>
          </p:cNvSpPr>
          <p:nvPr>
            <p:ph type="pic" sz="quarter" idx="13" hasCustomPrompt="1"/>
          </p:nvPr>
        </p:nvSpPr>
        <p:spPr>
          <a:xfrm>
            <a:off x="8351520" y="1554481"/>
            <a:ext cx="3840480" cy="5303519"/>
          </a:xfrm>
          <a:prstGeom prst="rect">
            <a:avLst/>
          </a:prstGeom>
          <a:solidFill>
            <a:schemeClr val="bg2"/>
          </a:solidFill>
        </p:spPr>
        <p:txBody>
          <a:bodyPr anchor="ctr"/>
          <a:lstStyle>
            <a:lvl1pPr algn="ctr">
              <a:defRPr sz="320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IMAGE</a:t>
            </a:r>
          </a:p>
        </p:txBody>
      </p:sp>
      <p:sp>
        <p:nvSpPr>
          <p:cNvPr id="55" name="Rectangle 54"/>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56" name="Rectangle 55"/>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Arial" panose="020B0604020202020204" pitchFamily="34" charset="0"/>
              <a:cs typeface="Arial" panose="020B0604020202020204" pitchFamily="34" charset="0"/>
              <a:sym typeface="Arial" panose="020B0604020202020204" pitchFamily="34" charset="0"/>
            </a:endParaRPr>
          </a:p>
        </p:txBody>
      </p:sp>
      <p:sp>
        <p:nvSpPr>
          <p:cNvPr id="57"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Title</a:t>
            </a:r>
          </a:p>
        </p:txBody>
      </p:sp>
      <p:sp>
        <p:nvSpPr>
          <p:cNvPr id="58"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Subtitle</a:t>
            </a:r>
          </a:p>
        </p:txBody>
      </p:sp>
      <p:cxnSp>
        <p:nvCxnSpPr>
          <p:cNvPr id="59" name="Straight Connector 58"/>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3" name="TextBox 62"/>
          <p:cNvSpPr txBox="1">
            <a:spLocks/>
          </p:cNvSpPr>
          <p:nvPr/>
        </p:nvSpPr>
        <p:spPr>
          <a:xfrm>
            <a:off x="11008872" y="633221"/>
            <a:ext cx="224212"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4" name="TextBox 63"/>
          <p:cNvSpPr txBox="1">
            <a:spLocks/>
          </p:cNvSpPr>
          <p:nvPr/>
        </p:nvSpPr>
        <p:spPr>
          <a:xfrm>
            <a:off x="10828278" y="644150"/>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5" name="TextBox 64"/>
          <p:cNvSpPr txBox="1">
            <a:spLocks/>
          </p:cNvSpPr>
          <p:nvPr/>
        </p:nvSpPr>
        <p:spPr>
          <a:xfrm>
            <a:off x="11252333" y="691818"/>
            <a:ext cx="113038"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6" name="TextBox 65"/>
          <p:cNvSpPr txBox="1">
            <a:spLocks/>
          </p:cNvSpPr>
          <p:nvPr/>
        </p:nvSpPr>
        <p:spPr>
          <a:xfrm>
            <a:off x="11375209" y="691818"/>
            <a:ext cx="11606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7" name="TextBox 66"/>
          <p:cNvSpPr txBox="1">
            <a:spLocks/>
          </p:cNvSpPr>
          <p:nvPr/>
        </p:nvSpPr>
        <p:spPr>
          <a:xfrm>
            <a:off x="11176798" y="694143"/>
            <a:ext cx="64892"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8" name="TextBox 67"/>
          <p:cNvSpPr txBox="1">
            <a:spLocks/>
          </p:cNvSpPr>
          <p:nvPr/>
        </p:nvSpPr>
        <p:spPr>
          <a:xfrm>
            <a:off x="11298619" y="842827"/>
            <a:ext cx="149090"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9" name="TextBox 68"/>
          <p:cNvSpPr txBox="1">
            <a:spLocks/>
          </p:cNvSpPr>
          <p:nvPr/>
        </p:nvSpPr>
        <p:spPr>
          <a:xfrm>
            <a:off x="11640919" y="842827"/>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0" name="TextBox 69"/>
          <p:cNvSpPr txBox="1">
            <a:spLocks/>
          </p:cNvSpPr>
          <p:nvPr/>
        </p:nvSpPr>
        <p:spPr>
          <a:xfrm>
            <a:off x="11457735" y="843060"/>
            <a:ext cx="172117"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2" name="Group 1"/>
          <p:cNvGrpSpPr/>
          <p:nvPr/>
        </p:nvGrpSpPr>
        <p:grpSpPr>
          <a:xfrm>
            <a:off x="11001879" y="849615"/>
            <a:ext cx="276881" cy="61257"/>
            <a:chOff x="10999013" y="849614"/>
            <a:chExt cx="276809" cy="61257"/>
          </a:xfrm>
          <a:solidFill>
            <a:schemeClr val="accent3"/>
          </a:solidFill>
        </p:grpSpPr>
        <p:sp>
          <p:nvSpPr>
            <p:cNvPr id="71" name="TextBox 70"/>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2" name="TextBox 71"/>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3" name="TextBox 72"/>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4" name="TextBox 73"/>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5" name="TextBox 74"/>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62" name="Freeform 9"/>
          <p:cNvSpPr>
            <a:spLocks noEditPoints="1"/>
          </p:cNvSpPr>
          <p:nvPr/>
        </p:nvSpPr>
        <p:spPr bwMode="auto">
          <a:xfrm>
            <a:off x="10579888" y="371026"/>
            <a:ext cx="1417689"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p:spPr>
        <p:txBody>
          <a:bodyPr vert="horz" wrap="square" lIns="91440" tIns="45720" rIns="91440" bIns="45720" numCol="1" anchor="t" anchorCtr="0" compatLnSpc="1">
            <a:prstTxWarp prst="textNoShape">
              <a:avLst/>
            </a:prstTxWarp>
          </a:bodyPr>
          <a:lstStyle/>
          <a:p>
            <a:endParaRPr lang="en-US" sz="1800">
              <a:latin typeface="Arial" panose="020B0604020202020204" pitchFamily="34" charset="0"/>
              <a:cs typeface="Arial" panose="020B0604020202020204" pitchFamily="34" charset="0"/>
              <a:sym typeface="Arial" panose="020B0604020202020204" pitchFamily="34" charset="0"/>
            </a:endParaRPr>
          </a:p>
        </p:txBody>
      </p:sp>
      <p:sp>
        <p:nvSpPr>
          <p:cNvPr id="23" name="Content Placeholder 8"/>
          <p:cNvSpPr txBox="1">
            <a:spLocks/>
          </p:cNvSpPr>
          <p:nvPr userDrawn="1"/>
        </p:nvSpPr>
        <p:spPr>
          <a:xfrm>
            <a:off x="11104408" y="6418626"/>
            <a:ext cx="734493" cy="228600"/>
          </a:xfrm>
          <a:prstGeom prst="rect">
            <a:avLst/>
          </a:prstGeom>
        </p:spPr>
        <p:txBody>
          <a:bodyPr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000" dirty="0">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rPr>
              <a:t> </a:t>
            </a:r>
            <a:fld id="{38743595-4496-5147-A886-7D133864DF76}" type="slidenum">
              <a:rPr lang="en-US" sz="1000" smtClean="0">
                <a:solidFill>
                  <a:srgbClr val="3F3F3F"/>
                </a:solidFill>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rPr>
              <a:pPr algn="r"/>
              <a:t>‹#›</a:t>
            </a:fld>
            <a:endParaRPr lang="en-US" sz="1000" dirty="0">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endParaRPr>
          </a:p>
        </p:txBody>
      </p:sp>
      <p:sp>
        <p:nvSpPr>
          <p:cNvPr id="24" name="MSIPCMContentMarking" descr="{&quot;HashCode&quot;:-356254672,&quot;Placement&quot;:&quot;Footer&quot;}">
            <a:extLst>
              <a:ext uri="{FF2B5EF4-FFF2-40B4-BE49-F238E27FC236}">
                <a16:creationId xmlns:a16="http://schemas.microsoft.com/office/drawing/2014/main" id="{B869DC3D-CEDB-48B8-8C95-B8965AA1143A}"/>
              </a:ext>
            </a:extLst>
          </p:cNvPr>
          <p:cNvSpPr txBox="1"/>
          <p:nvPr userDrawn="1"/>
        </p:nvSpPr>
        <p:spPr>
          <a:xfrm>
            <a:off x="10717460" y="6413372"/>
            <a:ext cx="709344" cy="228163"/>
          </a:xfrm>
          <a:prstGeom prst="rect">
            <a:avLst/>
          </a:prstGeom>
          <a:noFill/>
        </p:spPr>
        <p:txBody>
          <a:bodyPr vert="horz" wrap="square" lIns="0" tIns="0" rIns="0" bIns="0" rtlCol="0" anchor="ctr" anchorCtr="1">
            <a:noAutofit/>
          </a:bodyPr>
          <a:lstStyle/>
          <a:p>
            <a:pPr algn="l" defTabSz="456758" fontAlgn="base">
              <a:spcBef>
                <a:spcPts val="0"/>
              </a:spcBef>
              <a:spcAft>
                <a:spcPts val="0"/>
              </a:spcAft>
            </a:pPr>
            <a:r>
              <a:rPr lang="en-US" sz="800">
                <a:solidFill>
                  <a:srgbClr val="414141"/>
                </a:solidFill>
                <a:latin typeface="Arial" panose="020B0604020202020204" pitchFamily="34" charset="0"/>
                <a:cs typeface="Arial" panose="020B0604020202020204" pitchFamily="34" charset="0"/>
                <a:sym typeface="Arial" panose="020B0604020202020204" pitchFamily="34" charset="0"/>
              </a:rPr>
              <a:t>Proprietary</a:t>
            </a:r>
            <a:endParaRPr lang="en-US" sz="800" dirty="0" err="1">
              <a:solidFill>
                <a:srgbClr val="414141"/>
              </a:solidFill>
              <a:latin typeface="Arial" panose="020B0604020202020204" pitchFamily="34" charset="0"/>
              <a:cs typeface="Arial" panose="020B0604020202020204" pitchFamily="34" charset="0"/>
              <a:sym typeface="Arial" panose="020B0604020202020204" pitchFamily="34" charset="0"/>
            </a:endParaRPr>
          </a:p>
        </p:txBody>
      </p:sp>
      <p:sp>
        <p:nvSpPr>
          <p:cNvPr id="25" name="Rectangle 24"/>
          <p:cNvSpPr/>
          <p:nvPr userDrawn="1"/>
        </p:nvSpPr>
        <p:spPr>
          <a:xfrm>
            <a:off x="8260080" y="1554479"/>
            <a:ext cx="91440" cy="530352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Arial" panose="020B0604020202020204" pitchFamily="34" charset="0"/>
              <a:cs typeface="Arial" panose="020B0604020202020204" pitchFamily="34" charset="0"/>
              <a:sym typeface="Arial" panose="020B0604020202020204" pitchFamily="34" charset="0"/>
            </a:endParaRPr>
          </a:p>
        </p:txBody>
      </p:sp>
      <p:sp>
        <p:nvSpPr>
          <p:cNvPr id="26" name="Text Placeholder 4"/>
          <p:cNvSpPr>
            <a:spLocks noGrp="1"/>
          </p:cNvSpPr>
          <p:nvPr>
            <p:ph type="body" sz="quarter" idx="12" hasCustomPrompt="1"/>
          </p:nvPr>
        </p:nvSpPr>
        <p:spPr>
          <a:xfrm>
            <a:off x="457201" y="2011680"/>
            <a:ext cx="7406640" cy="4162001"/>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en-US" dirty="0"/>
              <a:t>Body text</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Divider">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863491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89" name="think-cell Slide" r:id="rId4" imgW="498" imgH="499" progId="TCLayout.ActiveDocument.1">
                  <p:embed/>
                </p:oleObj>
              </mc:Choice>
              <mc:Fallback>
                <p:oleObj name="think-cell Slide" r:id="rId4" imgW="498" imgH="49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457320" y="455614"/>
            <a:ext cx="11277362" cy="5932487"/>
          </a:xfrm>
          <a:prstGeom prst="rect">
            <a:avLst/>
          </a:prstGeom>
        </p:spPr>
        <p:txBody>
          <a:bodyPr anchor="ctr" anchorCtr="1"/>
          <a:lstStyle>
            <a:lvl1pPr marL="0" indent="0" algn="ctr">
              <a:buFontTx/>
              <a:buNone/>
              <a:tabLst>
                <a:tab pos="1201738" algn="l"/>
              </a:tabLst>
              <a:defRPr sz="7200"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L="0" indent="0" algn="ctr">
              <a:spcBef>
                <a:spcPts val="1800"/>
              </a:spcBef>
              <a:buFontTx/>
              <a:buNone/>
              <a:tabLst>
                <a:tab pos="1201738" algn="l"/>
              </a:tabLst>
              <a:defRPr sz="1400" b="1">
                <a:solidFill>
                  <a:schemeClr val="bg1"/>
                </a:solidFill>
                <a:latin typeface="Arial" panose="020B0604020202020204" pitchFamily="34" charset="0"/>
                <a:cs typeface="Arial" panose="020B0604020202020204" pitchFamily="34" charset="0"/>
                <a:sym typeface="Arial" panose="020B0604020202020204" pitchFamily="34" charset="0"/>
              </a:defRPr>
            </a:lvl2pPr>
            <a:lvl3pPr marL="0" indent="0" algn="ctr">
              <a:buFontTx/>
              <a:buNone/>
              <a:tabLst>
                <a:tab pos="1201738" algn="l"/>
              </a:tabLst>
              <a:defRPr sz="2000">
                <a:solidFill>
                  <a:schemeClr val="bg1"/>
                </a:solidFill>
              </a:defRPr>
            </a:lvl3pPr>
            <a:lvl4pPr marL="0" indent="0" algn="ctr">
              <a:buFontTx/>
              <a:buNone/>
              <a:tabLst>
                <a:tab pos="1201738" algn="l"/>
              </a:tabLst>
              <a:defRPr sz="2000">
                <a:solidFill>
                  <a:schemeClr val="bg1"/>
                </a:solidFill>
              </a:defRPr>
            </a:lvl4pPr>
            <a:lvl5pPr marL="0" indent="0" algn="ctr">
              <a:buFontTx/>
              <a:buNone/>
              <a:tabLst>
                <a:tab pos="1201738" algn="l"/>
              </a:tabLst>
              <a:defRPr sz="2000">
                <a:solidFill>
                  <a:schemeClr val="bg1"/>
                </a:solidFill>
              </a:defRPr>
            </a:lvl5pPr>
          </a:lstStyle>
          <a:p>
            <a:pPr lvl="0"/>
            <a:r>
              <a:rPr lang="en-US" dirty="0"/>
              <a:t>Divider</a:t>
            </a:r>
          </a:p>
          <a:p>
            <a:pPr lvl="1"/>
            <a:r>
              <a:rPr lang="en-US" dirty="0"/>
              <a:t>Second level</a:t>
            </a:r>
          </a:p>
        </p:txBody>
      </p:sp>
    </p:spTree>
    <p:extLst>
      <p:ext uri="{BB962C8B-B14F-4D97-AF65-F5344CB8AC3E}">
        <p14:creationId xmlns:p14="http://schemas.microsoft.com/office/powerpoint/2010/main" val="40566233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Vision to action">
    <p:bg>
      <p:bgPr>
        <a:solidFill>
          <a:srgbClr val="064E69"/>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846101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3" name="think-cell Slide" r:id="rId4" imgW="498" imgH="499" progId="TCLayout.ActiveDocument.1">
                  <p:embed/>
                </p:oleObj>
              </mc:Choice>
              <mc:Fallback>
                <p:oleObj name="think-cell Slide" r:id="rId4" imgW="498" imgH="499"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6" name="Rectangle 25"/>
          <p:cNvSpPr/>
          <p:nvPr userDrawn="1"/>
        </p:nvSpPr>
        <p:spPr>
          <a:xfrm>
            <a:off x="0" y="4732020"/>
            <a:ext cx="12192000" cy="2125980"/>
          </a:xfrm>
          <a:prstGeom prst="rect">
            <a:avLst/>
          </a:prstGeom>
          <a:gradFill flip="none" rotWithShape="1">
            <a:gsLst>
              <a:gs pos="67000">
                <a:schemeClr val="bg1"/>
              </a:gs>
              <a:gs pos="100000">
                <a:schemeClr val="bg1"/>
              </a:gs>
              <a:gs pos="55000">
                <a:schemeClr val="accent2"/>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endParaRPr>
          </a:p>
        </p:txBody>
      </p:sp>
      <p:sp>
        <p:nvSpPr>
          <p:cNvPr id="27" name="Rectangle 26"/>
          <p:cNvSpPr/>
          <p:nvPr userDrawn="1"/>
        </p:nvSpPr>
        <p:spPr>
          <a:xfrm>
            <a:off x="1589" y="0"/>
            <a:ext cx="12188825" cy="47320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endParaRPr>
          </a:p>
        </p:txBody>
      </p:sp>
      <p:pic>
        <p:nvPicPr>
          <p:cNvPr id="28" name="Picture 27"/>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1588" y="0"/>
            <a:ext cx="6126479" cy="4732020"/>
          </a:xfrm>
          <a:prstGeom prst="rect">
            <a:avLst/>
          </a:prstGeom>
        </p:spPr>
      </p:pic>
      <p:sp>
        <p:nvSpPr>
          <p:cNvPr id="29" name="Rectangle 28"/>
          <p:cNvSpPr/>
          <p:nvPr userDrawn="1"/>
        </p:nvSpPr>
        <p:spPr>
          <a:xfrm flipH="1">
            <a:off x="6015106" y="1"/>
            <a:ext cx="665217" cy="47320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schemeClr val="bg2">
                  <a:lumMod val="40000"/>
                  <a:lumOff val="60000"/>
                </a:schemeClr>
              </a:solidFill>
              <a:latin typeface="Arial" panose="020B0604020202020204" pitchFamily="34" charset="0"/>
              <a:cs typeface="Arial" panose="020B0604020202020204" pitchFamily="34" charset="0"/>
            </a:endParaRPr>
          </a:p>
        </p:txBody>
      </p:sp>
      <p:sp>
        <p:nvSpPr>
          <p:cNvPr id="30" name="Title 2"/>
          <p:cNvSpPr txBox="1">
            <a:spLocks/>
          </p:cNvSpPr>
          <p:nvPr userDrawn="1"/>
        </p:nvSpPr>
        <p:spPr>
          <a:xfrm>
            <a:off x="7901547" y="3658243"/>
            <a:ext cx="3949108" cy="727131"/>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2800" b="0" i="0" kern="1200">
                <a:solidFill>
                  <a:schemeClr val="accent2"/>
                </a:solidFill>
                <a:latin typeface="+mj-lt"/>
                <a:ea typeface="Open Sans" panose="020B0606030504020204" pitchFamily="34" charset="0"/>
                <a:cs typeface="Open Sans" panose="020B0606030504020204" pitchFamily="34" charset="0"/>
              </a:defRPr>
            </a:lvl1pPr>
          </a:lstStyle>
          <a:p>
            <a:r>
              <a:rPr lang="en-US" sz="5400" b="1" dirty="0">
                <a:solidFill>
                  <a:srgbClr val="00859B"/>
                </a:solidFill>
                <a:latin typeface="Arial" panose="020B0604020202020204" pitchFamily="34" charset="0"/>
                <a:ea typeface="Domaine Display" charset="0"/>
                <a:cs typeface="Arial" panose="020B0604020202020204" pitchFamily="34" charset="0"/>
              </a:rPr>
              <a:t>into action.</a:t>
            </a:r>
          </a:p>
        </p:txBody>
      </p:sp>
      <p:sp>
        <p:nvSpPr>
          <p:cNvPr id="31" name="Title 1"/>
          <p:cNvSpPr txBox="1">
            <a:spLocks/>
          </p:cNvSpPr>
          <p:nvPr userDrawn="1"/>
        </p:nvSpPr>
        <p:spPr>
          <a:xfrm>
            <a:off x="5061285" y="2489624"/>
            <a:ext cx="5205181" cy="1770821"/>
          </a:xfrm>
          <a:prstGeom prst="rect">
            <a:avLst/>
          </a:prstGeom>
        </p:spPr>
        <p:txBody>
          <a:bodyPr vert="horz" lIns="0" tIns="0" rIns="0" bIns="0" rtlCol="0" anchor="ctr">
            <a:noAutofit/>
          </a:bodyPr>
          <a:lstStyle>
            <a:lvl1pPr algn="r" defTabSz="914400" rtl="0" eaLnBrk="1" latinLnBrk="0" hangingPunct="1">
              <a:lnSpc>
                <a:spcPct val="80000"/>
              </a:lnSpc>
              <a:spcBef>
                <a:spcPct val="0"/>
              </a:spcBef>
              <a:buNone/>
              <a:defRPr sz="7200" b="0" i="0" kern="1200">
                <a:solidFill>
                  <a:schemeClr val="bg1"/>
                </a:solidFill>
                <a:latin typeface="Domaine Display Bold" panose="020A0803080505060203" pitchFamily="18" charset="0"/>
                <a:ea typeface="Open Sans" panose="020B0606030504020204" pitchFamily="34" charset="0"/>
                <a:cs typeface="Domaine Display Bold" panose="020A0803080505060203" pitchFamily="18" charset="0"/>
              </a:defRPr>
            </a:lvl1pPr>
          </a:lstStyle>
          <a:p>
            <a:pPr algn="l">
              <a:lnSpc>
                <a:spcPct val="90000"/>
              </a:lnSpc>
            </a:pPr>
            <a:r>
              <a:rPr lang="en-US" sz="5400" b="1" dirty="0">
                <a:solidFill>
                  <a:schemeClr val="accent2"/>
                </a:solidFill>
                <a:latin typeface="Arial" panose="020B0604020202020204" pitchFamily="34" charset="0"/>
                <a:ea typeface="Domaine Display" charset="0"/>
                <a:cs typeface="Arial" panose="020B0604020202020204" pitchFamily="34" charset="0"/>
              </a:rPr>
              <a:t>Turning vision</a:t>
            </a:r>
          </a:p>
        </p:txBody>
      </p:sp>
      <p:grpSp>
        <p:nvGrpSpPr>
          <p:cNvPr id="32" name="Group 31">
            <a:extLst>
              <a:ext uri="{FF2B5EF4-FFF2-40B4-BE49-F238E27FC236}">
                <a16:creationId xmlns:a16="http://schemas.microsoft.com/office/drawing/2014/main" id="{0860573B-7502-4EE6-AE67-B3B2FFD71F32}"/>
              </a:ext>
            </a:extLst>
          </p:cNvPr>
          <p:cNvGrpSpPr>
            <a:grpSpLocks noChangeAspect="1"/>
          </p:cNvGrpSpPr>
          <p:nvPr userDrawn="1"/>
        </p:nvGrpSpPr>
        <p:grpSpPr>
          <a:xfrm>
            <a:off x="8654511" y="5940719"/>
            <a:ext cx="3097787" cy="413801"/>
            <a:chOff x="279400" y="2781300"/>
            <a:chExt cx="8585200" cy="1092200"/>
          </a:xfrm>
        </p:grpSpPr>
        <p:sp>
          <p:nvSpPr>
            <p:cNvPr id="33" name="Freeform 5">
              <a:extLst>
                <a:ext uri="{FF2B5EF4-FFF2-40B4-BE49-F238E27FC236}">
                  <a16:creationId xmlns:a16="http://schemas.microsoft.com/office/drawing/2014/main" id="{264CBBCF-7D70-4513-96B2-BDE78A1BE2AC}"/>
                </a:ext>
              </a:extLst>
            </p:cNvPr>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34" name="Freeform 6">
              <a:extLst>
                <a:ext uri="{FF2B5EF4-FFF2-40B4-BE49-F238E27FC236}">
                  <a16:creationId xmlns:a16="http://schemas.microsoft.com/office/drawing/2014/main" id="{CB55B7D8-3723-4CA7-83E2-4ECF2520F18B}"/>
                </a:ext>
              </a:extLst>
            </p:cNvPr>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35" name="Freeform 7">
              <a:extLst>
                <a:ext uri="{FF2B5EF4-FFF2-40B4-BE49-F238E27FC236}">
                  <a16:creationId xmlns:a16="http://schemas.microsoft.com/office/drawing/2014/main" id="{66826270-096D-4A0F-B57D-78D557210E97}"/>
                </a:ext>
              </a:extLst>
            </p:cNvPr>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36" name="Freeform 8">
              <a:extLst>
                <a:ext uri="{FF2B5EF4-FFF2-40B4-BE49-F238E27FC236}">
                  <a16:creationId xmlns:a16="http://schemas.microsoft.com/office/drawing/2014/main" id="{D644210C-71FB-46C2-BB06-3DAD03BC87A0}"/>
                </a:ext>
              </a:extLst>
            </p:cNvPr>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37" name="Freeform 9">
              <a:extLst>
                <a:ext uri="{FF2B5EF4-FFF2-40B4-BE49-F238E27FC236}">
                  <a16:creationId xmlns:a16="http://schemas.microsoft.com/office/drawing/2014/main" id="{6BD464F9-CB86-4782-98A8-138D13B22E79}"/>
                </a:ext>
              </a:extLst>
            </p:cNvPr>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38" name="Freeform 10">
              <a:extLst>
                <a:ext uri="{FF2B5EF4-FFF2-40B4-BE49-F238E27FC236}">
                  <a16:creationId xmlns:a16="http://schemas.microsoft.com/office/drawing/2014/main" id="{4A8BDCE4-6FCC-47A7-9CDE-4AC06B36DA13}"/>
                </a:ext>
              </a:extLst>
            </p:cNvPr>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39" name="Freeform 11">
              <a:extLst>
                <a:ext uri="{FF2B5EF4-FFF2-40B4-BE49-F238E27FC236}">
                  <a16:creationId xmlns:a16="http://schemas.microsoft.com/office/drawing/2014/main" id="{331AB147-689A-43A6-B970-E8CB2BE02D79}"/>
                </a:ext>
              </a:extLst>
            </p:cNvPr>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40" name="Freeform 12">
              <a:extLst>
                <a:ext uri="{FF2B5EF4-FFF2-40B4-BE49-F238E27FC236}">
                  <a16:creationId xmlns:a16="http://schemas.microsoft.com/office/drawing/2014/main" id="{AA8CC35E-627A-410D-9CC1-5DFD27072BFF}"/>
                </a:ext>
              </a:extLst>
            </p:cNvPr>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41" name="Freeform 13">
              <a:extLst>
                <a:ext uri="{FF2B5EF4-FFF2-40B4-BE49-F238E27FC236}">
                  <a16:creationId xmlns:a16="http://schemas.microsoft.com/office/drawing/2014/main" id="{A6104163-5896-46B6-AC7E-D2E4D25EC2F7}"/>
                </a:ext>
              </a:extLst>
            </p:cNvPr>
            <p:cNvSpPr>
              <a:spLocks/>
            </p:cNvSpPr>
            <p:nvPr/>
          </p:nvSpPr>
          <p:spPr bwMode="auto">
            <a:xfrm>
              <a:off x="2644774" y="2816225"/>
              <a:ext cx="1014412" cy="1023939"/>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42" name="Freeform 14">
              <a:extLst>
                <a:ext uri="{FF2B5EF4-FFF2-40B4-BE49-F238E27FC236}">
                  <a16:creationId xmlns:a16="http://schemas.microsoft.com/office/drawing/2014/main" id="{481FE757-1FA8-48AB-BF72-DF393E4A3A65}"/>
                </a:ext>
              </a:extLst>
            </p:cNvPr>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grpSp>
        <p:nvGrpSpPr>
          <p:cNvPr id="43" name="Group 42"/>
          <p:cNvGrpSpPr/>
          <p:nvPr userDrawn="1"/>
        </p:nvGrpSpPr>
        <p:grpSpPr>
          <a:xfrm>
            <a:off x="504316" y="5402513"/>
            <a:ext cx="1930419" cy="1067172"/>
            <a:chOff x="7526204" y="2289887"/>
            <a:chExt cx="3108960" cy="1718692"/>
          </a:xfrm>
        </p:grpSpPr>
        <p:grpSp>
          <p:nvGrpSpPr>
            <p:cNvPr id="44" name="Group 43"/>
            <p:cNvGrpSpPr>
              <a:grpSpLocks noChangeAspect="1"/>
            </p:cNvGrpSpPr>
            <p:nvPr/>
          </p:nvGrpSpPr>
          <p:grpSpPr>
            <a:xfrm>
              <a:off x="8070916" y="2865025"/>
              <a:ext cx="2148840" cy="827025"/>
              <a:chOff x="-2522495" y="1678245"/>
              <a:chExt cx="2126771" cy="818532"/>
            </a:xfrm>
          </p:grpSpPr>
          <p:sp>
            <p:nvSpPr>
              <p:cNvPr id="46" name="TextBox 45"/>
              <p:cNvSpPr txBox="1">
                <a:spLocks/>
              </p:cNvSpPr>
              <p:nvPr/>
            </p:nvSpPr>
            <p:spPr>
              <a:xfrm>
                <a:off x="-2130523" y="1678245"/>
                <a:ext cx="486642" cy="382152"/>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endParaRPr>
              </a:p>
            </p:txBody>
          </p:sp>
          <p:sp>
            <p:nvSpPr>
              <p:cNvPr id="47" name="TextBox 46"/>
              <p:cNvSpPr txBox="1">
                <a:spLocks/>
              </p:cNvSpPr>
              <p:nvPr/>
            </p:nvSpPr>
            <p:spPr>
              <a:xfrm>
                <a:off x="-2522495" y="1701971"/>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endParaRPr>
              </a:p>
            </p:txBody>
          </p:sp>
          <p:sp>
            <p:nvSpPr>
              <p:cNvPr id="48" name="TextBox 47"/>
              <p:cNvSpPr txBox="1">
                <a:spLocks/>
              </p:cNvSpPr>
              <p:nvPr/>
            </p:nvSpPr>
            <p:spPr>
              <a:xfrm>
                <a:off x="-1602104" y="1805461"/>
                <a:ext cx="245345" cy="25998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endParaRPr>
              </a:p>
            </p:txBody>
          </p:sp>
          <p:sp>
            <p:nvSpPr>
              <p:cNvPr id="49" name="TextBox 48"/>
              <p:cNvSpPr txBox="1">
                <a:spLocks/>
              </p:cNvSpPr>
              <p:nvPr/>
            </p:nvSpPr>
            <p:spPr>
              <a:xfrm>
                <a:off x="-1335404" y="1805461"/>
                <a:ext cx="251908" cy="25998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endParaRPr>
              </a:p>
            </p:txBody>
          </p:sp>
          <p:sp>
            <p:nvSpPr>
              <p:cNvPr id="50" name="TextBox 49"/>
              <p:cNvSpPr txBox="1">
                <a:spLocks/>
              </p:cNvSpPr>
              <p:nvPr/>
            </p:nvSpPr>
            <p:spPr>
              <a:xfrm>
                <a:off x="-1766048" y="1810509"/>
                <a:ext cx="140846" cy="249888"/>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endParaRPr>
              </a:p>
            </p:txBody>
          </p:sp>
          <p:sp>
            <p:nvSpPr>
              <p:cNvPr id="51" name="TextBox 50"/>
              <p:cNvSpPr txBox="1">
                <a:spLocks/>
              </p:cNvSpPr>
              <p:nvPr/>
            </p:nvSpPr>
            <p:spPr>
              <a:xfrm>
                <a:off x="-1501643" y="2133303"/>
                <a:ext cx="323593" cy="363474"/>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endParaRPr>
              </a:p>
            </p:txBody>
          </p:sp>
          <p:sp>
            <p:nvSpPr>
              <p:cNvPr id="52" name="TextBox 51"/>
              <p:cNvSpPr txBox="1">
                <a:spLocks/>
              </p:cNvSpPr>
              <p:nvPr/>
            </p:nvSpPr>
            <p:spPr>
              <a:xfrm>
                <a:off x="-758693" y="2133303"/>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endParaRPr>
              </a:p>
            </p:txBody>
          </p:sp>
          <p:sp>
            <p:nvSpPr>
              <p:cNvPr id="53" name="TextBox 52"/>
              <p:cNvSpPr txBox="1">
                <a:spLocks/>
              </p:cNvSpPr>
              <p:nvPr/>
            </p:nvSpPr>
            <p:spPr>
              <a:xfrm>
                <a:off x="-1156286" y="2133808"/>
                <a:ext cx="373571" cy="357921"/>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endParaRPr>
              </a:p>
            </p:txBody>
          </p:sp>
          <p:sp>
            <p:nvSpPr>
              <p:cNvPr id="54" name="TextBox 53"/>
              <p:cNvSpPr txBox="1">
                <a:spLocks/>
              </p:cNvSpPr>
              <p:nvPr/>
            </p:nvSpPr>
            <p:spPr>
              <a:xfrm>
                <a:off x="-2145704" y="2148039"/>
                <a:ext cx="130738" cy="132991"/>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3"/>
                  </a:solidFill>
                  <a:latin typeface="Arial" panose="020B0604020202020204" pitchFamily="34" charset="0"/>
                  <a:ea typeface="Domaine Display" charset="0"/>
                  <a:cs typeface="Arial" panose="020B0604020202020204" pitchFamily="34" charset="0"/>
                </a:endParaRPr>
              </a:p>
            </p:txBody>
          </p:sp>
          <p:sp>
            <p:nvSpPr>
              <p:cNvPr id="55" name="TextBox 54"/>
              <p:cNvSpPr txBox="1">
                <a:spLocks/>
              </p:cNvSpPr>
              <p:nvPr/>
            </p:nvSpPr>
            <p:spPr>
              <a:xfrm>
                <a:off x="-1995442" y="2150070"/>
                <a:ext cx="79221" cy="129192"/>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3"/>
                  </a:solidFill>
                  <a:latin typeface="Arial" panose="020B0604020202020204" pitchFamily="34" charset="0"/>
                  <a:ea typeface="Domaine Display" charset="0"/>
                  <a:cs typeface="Arial" panose="020B0604020202020204" pitchFamily="34" charset="0"/>
                </a:endParaRPr>
              </a:p>
            </p:txBody>
          </p:sp>
          <p:sp>
            <p:nvSpPr>
              <p:cNvPr id="56" name="TextBox 55"/>
              <p:cNvSpPr txBox="1">
                <a:spLocks/>
              </p:cNvSpPr>
              <p:nvPr/>
            </p:nvSpPr>
            <p:spPr>
              <a:xfrm>
                <a:off x="-1879880" y="2150070"/>
                <a:ext cx="106535" cy="129192"/>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3"/>
                  </a:solidFill>
                  <a:latin typeface="Arial" panose="020B0604020202020204" pitchFamily="34" charset="0"/>
                  <a:ea typeface="Domaine Display" charset="0"/>
                  <a:cs typeface="Arial" panose="020B0604020202020204" pitchFamily="34" charset="0"/>
                </a:endParaRPr>
              </a:p>
            </p:txBody>
          </p:sp>
          <p:sp>
            <p:nvSpPr>
              <p:cNvPr id="57" name="TextBox 56"/>
              <p:cNvSpPr txBox="1">
                <a:spLocks/>
              </p:cNvSpPr>
              <p:nvPr/>
            </p:nvSpPr>
            <p:spPr>
              <a:xfrm>
                <a:off x="-1757317" y="2150070"/>
                <a:ext cx="107896" cy="129192"/>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3"/>
                  </a:solidFill>
                  <a:latin typeface="Arial" panose="020B0604020202020204" pitchFamily="34" charset="0"/>
                  <a:ea typeface="Domaine Display" charset="0"/>
                  <a:cs typeface="Arial" panose="020B0604020202020204" pitchFamily="34" charset="0"/>
                </a:endParaRPr>
              </a:p>
            </p:txBody>
          </p:sp>
          <p:sp>
            <p:nvSpPr>
              <p:cNvPr id="58" name="TextBox 57"/>
              <p:cNvSpPr txBox="1">
                <a:spLocks/>
              </p:cNvSpPr>
              <p:nvPr/>
            </p:nvSpPr>
            <p:spPr>
              <a:xfrm>
                <a:off x="-1623967" y="2150070"/>
                <a:ext cx="79221" cy="129192"/>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3"/>
                  </a:solidFill>
                  <a:latin typeface="Arial" panose="020B0604020202020204" pitchFamily="34" charset="0"/>
                  <a:ea typeface="Domaine Display" charset="0"/>
                  <a:cs typeface="Arial" panose="020B0604020202020204" pitchFamily="34" charset="0"/>
                </a:endParaRPr>
              </a:p>
            </p:txBody>
          </p:sp>
        </p:grpSp>
        <p:sp>
          <p:nvSpPr>
            <p:cNvPr id="45" name="Freeform 44"/>
            <p:cNvSpPr>
              <a:spLocks noEditPoints="1"/>
            </p:cNvSpPr>
            <p:nvPr/>
          </p:nvSpPr>
          <p:spPr bwMode="auto">
            <a:xfrm>
              <a:off x="7526204" y="2289887"/>
              <a:ext cx="3108960" cy="171869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sp>
        <p:nvSpPr>
          <p:cNvPr id="59" name="Rectangle 58"/>
          <p:cNvSpPr/>
          <p:nvPr userDrawn="1"/>
        </p:nvSpPr>
        <p:spPr>
          <a:xfrm flipH="1">
            <a:off x="-1591" y="4732897"/>
            <a:ext cx="12193589" cy="336177"/>
          </a:xfrm>
          <a:prstGeom prst="rect">
            <a:avLst/>
          </a:prstGeom>
          <a:solidFill>
            <a:srgbClr val="064E6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schemeClr val="bg2">
                  <a:lumMod val="40000"/>
                  <a:lumOff val="6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963149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4337" name="think-cell Slide" r:id="rId4" imgW="421" imgH="423" progId="TCLayout.ActiveDocument.1">
                  <p:embed/>
                </p:oleObj>
              </mc:Choice>
              <mc:Fallback>
                <p:oleObj name="think-cell Slide" r:id="rId4" imgW="421" imgH="423"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5" name="Rectangle 54"/>
          <p:cNvSpPr/>
          <p:nvPr userDrawn="1"/>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Domaine Display" charset="0"/>
              <a:ea typeface="Domaine Display" charset="0"/>
              <a:cs typeface="Domaine Display" charset="0"/>
            </a:endParaRPr>
          </a:p>
        </p:txBody>
      </p:sp>
      <p:sp>
        <p:nvSpPr>
          <p:cNvPr id="56" name="Rectangle 55"/>
          <p:cNvSpPr/>
          <p:nvPr userDrawn="1"/>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Open Sans Bold"/>
              <a:cs typeface="Open Sans Bold"/>
            </a:endParaRPr>
          </a:p>
        </p:txBody>
      </p:sp>
      <p:sp>
        <p:nvSpPr>
          <p:cNvPr id="57" name="Title 1"/>
          <p:cNvSpPr>
            <a:spLocks noGrp="1"/>
          </p:cNvSpPr>
          <p:nvPr>
            <p:ph type="title" hasCustomPrompt="1"/>
          </p:nvPr>
        </p:nvSpPr>
        <p:spPr>
          <a:xfrm>
            <a:off x="446992" y="371027"/>
            <a:ext cx="9688623" cy="476805"/>
          </a:xfrm>
          <a:prstGeom prst="rect">
            <a:avLst/>
          </a:prstGeom>
        </p:spPr>
        <p:txBody>
          <a:bodyPr anchor="b"/>
          <a:lstStyle>
            <a:lvl1pPr algn="l">
              <a:defRPr sz="3000" b="1">
                <a:solidFill>
                  <a:schemeClr val="bg1"/>
                </a:solidFill>
                <a:latin typeface="Domaine Display" charset="0"/>
                <a:ea typeface="Domaine Display" charset="0"/>
                <a:cs typeface="Domaine Display" charset="0"/>
              </a:defRPr>
            </a:lvl1pPr>
          </a:lstStyle>
          <a:p>
            <a:r>
              <a:rPr lang="en-US" dirty="0"/>
              <a:t>Title</a:t>
            </a:r>
          </a:p>
        </p:txBody>
      </p:sp>
      <p:sp>
        <p:nvSpPr>
          <p:cNvPr id="58" name="Text Placeholder 9"/>
          <p:cNvSpPr>
            <a:spLocks noGrp="1"/>
          </p:cNvSpPr>
          <p:nvPr>
            <p:ph type="body" sz="quarter" idx="11" hasCustomPrompt="1"/>
          </p:nvPr>
        </p:nvSpPr>
        <p:spPr>
          <a:xfrm>
            <a:off x="446994" y="860151"/>
            <a:ext cx="9688622" cy="423094"/>
          </a:xfrm>
          <a:prstGeom prst="rect">
            <a:avLst/>
          </a:prstGeom>
        </p:spPr>
        <p:txBody>
          <a:bodyPr anchor="ctr"/>
          <a:lstStyle>
            <a:lvl1pPr algn="l">
              <a:lnSpc>
                <a:spcPct val="90000"/>
              </a:lnSpc>
              <a:defRPr sz="2000">
                <a:solidFill>
                  <a:schemeClr val="bg1"/>
                </a:solidFill>
              </a:defRPr>
            </a:lvl1pPr>
          </a:lstStyle>
          <a:p>
            <a:pPr lvl="0"/>
            <a:r>
              <a:rPr lang="en-US" dirty="0"/>
              <a:t>Subtitle</a:t>
            </a:r>
          </a:p>
        </p:txBody>
      </p:sp>
      <p:cxnSp>
        <p:nvCxnSpPr>
          <p:cNvPr id="59" name="Straight Connector 58"/>
          <p:cNvCxnSpPr/>
          <p:nvPr userDrawn="1"/>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60" name="Group 59"/>
          <p:cNvGrpSpPr>
            <a:grpSpLocks noChangeAspect="1"/>
          </p:cNvGrpSpPr>
          <p:nvPr userDrawn="1"/>
        </p:nvGrpSpPr>
        <p:grpSpPr>
          <a:xfrm>
            <a:off x="10579888" y="371026"/>
            <a:ext cx="1417689" cy="783522"/>
            <a:chOff x="7526204" y="2289887"/>
            <a:chExt cx="3108960" cy="1718692"/>
          </a:xfrm>
        </p:grpSpPr>
        <p:grpSp>
          <p:nvGrpSpPr>
            <p:cNvPr id="61" name="Group 60"/>
            <p:cNvGrpSpPr>
              <a:grpSpLocks noChangeAspect="1"/>
            </p:cNvGrpSpPr>
            <p:nvPr/>
          </p:nvGrpSpPr>
          <p:grpSpPr>
            <a:xfrm>
              <a:off x="8070916" y="2865025"/>
              <a:ext cx="2148840" cy="827025"/>
              <a:chOff x="-2522495" y="1678245"/>
              <a:chExt cx="2126771" cy="818532"/>
            </a:xfrm>
          </p:grpSpPr>
          <p:sp>
            <p:nvSpPr>
              <p:cNvPr id="63" name="TextBox 62"/>
              <p:cNvSpPr txBox="1">
                <a:spLocks/>
              </p:cNvSpPr>
              <p:nvPr/>
            </p:nvSpPr>
            <p:spPr>
              <a:xfrm>
                <a:off x="-2130523" y="1678245"/>
                <a:ext cx="486642" cy="382152"/>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4" name="TextBox 63"/>
              <p:cNvSpPr txBox="1">
                <a:spLocks/>
              </p:cNvSpPr>
              <p:nvPr/>
            </p:nvSpPr>
            <p:spPr>
              <a:xfrm>
                <a:off x="-2522495" y="1701971"/>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5" name="TextBox 64"/>
              <p:cNvSpPr txBox="1">
                <a:spLocks/>
              </p:cNvSpPr>
              <p:nvPr/>
            </p:nvSpPr>
            <p:spPr>
              <a:xfrm>
                <a:off x="-1602104" y="1805461"/>
                <a:ext cx="245345" cy="25998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6" name="TextBox 65"/>
              <p:cNvSpPr txBox="1">
                <a:spLocks/>
              </p:cNvSpPr>
              <p:nvPr/>
            </p:nvSpPr>
            <p:spPr>
              <a:xfrm>
                <a:off x="-1335404" y="1805461"/>
                <a:ext cx="251908" cy="25998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7" name="TextBox 66"/>
              <p:cNvSpPr txBox="1">
                <a:spLocks/>
              </p:cNvSpPr>
              <p:nvPr/>
            </p:nvSpPr>
            <p:spPr>
              <a:xfrm>
                <a:off x="-1766048" y="1810509"/>
                <a:ext cx="140846" cy="249888"/>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8" name="TextBox 67"/>
              <p:cNvSpPr txBox="1">
                <a:spLocks/>
              </p:cNvSpPr>
              <p:nvPr/>
            </p:nvSpPr>
            <p:spPr>
              <a:xfrm>
                <a:off x="-1501643" y="2133303"/>
                <a:ext cx="323593" cy="363474"/>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9" name="TextBox 68"/>
              <p:cNvSpPr txBox="1">
                <a:spLocks/>
              </p:cNvSpPr>
              <p:nvPr/>
            </p:nvSpPr>
            <p:spPr>
              <a:xfrm>
                <a:off x="-758693" y="2133303"/>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0" name="TextBox 69"/>
              <p:cNvSpPr txBox="1">
                <a:spLocks/>
              </p:cNvSpPr>
              <p:nvPr/>
            </p:nvSpPr>
            <p:spPr>
              <a:xfrm>
                <a:off x="-1156286" y="2133808"/>
                <a:ext cx="373571" cy="357921"/>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1" name="TextBox 70"/>
              <p:cNvSpPr txBox="1">
                <a:spLocks/>
              </p:cNvSpPr>
              <p:nvPr/>
            </p:nvSpPr>
            <p:spPr>
              <a:xfrm>
                <a:off x="-2145704" y="2148039"/>
                <a:ext cx="130738" cy="132991"/>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2" name="TextBox 71"/>
              <p:cNvSpPr txBox="1">
                <a:spLocks/>
              </p:cNvSpPr>
              <p:nvPr/>
            </p:nvSpPr>
            <p:spPr>
              <a:xfrm>
                <a:off x="-1995442" y="2150070"/>
                <a:ext cx="79221" cy="129192"/>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3" name="TextBox 72"/>
              <p:cNvSpPr txBox="1">
                <a:spLocks/>
              </p:cNvSpPr>
              <p:nvPr/>
            </p:nvSpPr>
            <p:spPr>
              <a:xfrm>
                <a:off x="-1879880" y="2150070"/>
                <a:ext cx="106535" cy="129192"/>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4" name="TextBox 73"/>
              <p:cNvSpPr txBox="1">
                <a:spLocks/>
              </p:cNvSpPr>
              <p:nvPr/>
            </p:nvSpPr>
            <p:spPr>
              <a:xfrm>
                <a:off x="-1757317" y="2150070"/>
                <a:ext cx="107896" cy="129192"/>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5" name="TextBox 74"/>
              <p:cNvSpPr txBox="1">
                <a:spLocks/>
              </p:cNvSpPr>
              <p:nvPr/>
            </p:nvSpPr>
            <p:spPr>
              <a:xfrm>
                <a:off x="-1623967" y="2150070"/>
                <a:ext cx="79221" cy="129192"/>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62" name="Freeform 9"/>
            <p:cNvSpPr>
              <a:spLocks noEditPoints="1"/>
            </p:cNvSpPr>
            <p:nvPr/>
          </p:nvSpPr>
          <p:spPr bwMode="auto">
            <a:xfrm>
              <a:off x="7526204" y="2289887"/>
              <a:ext cx="3108960" cy="171869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822350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Content: One">
    <p:spTree>
      <p:nvGrpSpPr>
        <p:cNvPr id="1" name="Shape 30"/>
        <p:cNvGrpSpPr/>
        <p:nvPr/>
      </p:nvGrpSpPr>
      <p:grpSpPr>
        <a:xfrm>
          <a:off x="0" y="0"/>
          <a:ext cx="0" cy="0"/>
          <a:chOff x="0" y="0"/>
          <a:chExt cx="0" cy="0"/>
        </a:xfrm>
      </p:grpSpPr>
      <p:sp>
        <p:nvSpPr>
          <p:cNvPr id="31" name="Shape 31"/>
          <p:cNvSpPr txBox="1">
            <a:spLocks noGrp="1"/>
          </p:cNvSpPr>
          <p:nvPr>
            <p:ph type="title"/>
          </p:nvPr>
        </p:nvSpPr>
        <p:spPr>
          <a:xfrm>
            <a:off x="646546" y="1008530"/>
            <a:ext cx="10898910" cy="806822"/>
          </a:xfrm>
          <a:prstGeom prst="rect">
            <a:avLst/>
          </a:prstGeom>
          <a:noFill/>
          <a:ln>
            <a:noFill/>
          </a:ln>
        </p:spPr>
        <p:txBody>
          <a:bodyPr lIns="91425" tIns="91425" rIns="91425" bIns="91425" anchor="t" anchorCtr="0"/>
          <a:lstStyle>
            <a:lvl1pPr lvl="0" algn="l" rtl="0">
              <a:lnSpc>
                <a:spcPct val="100000"/>
              </a:lnSpc>
              <a:spcBef>
                <a:spcPts val="0"/>
              </a:spcBef>
              <a:buClr>
                <a:schemeClr val="dk1"/>
              </a:buClr>
              <a:buFont typeface="Georgia"/>
              <a:buNone/>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32" name="Shape 32"/>
          <p:cNvSpPr txBox="1">
            <a:spLocks noGrp="1"/>
          </p:cNvSpPr>
          <p:nvPr>
            <p:ph type="body" idx="1"/>
          </p:nvPr>
        </p:nvSpPr>
        <p:spPr>
          <a:xfrm>
            <a:off x="646545" y="1949825"/>
            <a:ext cx="10898910" cy="3899647"/>
          </a:xfrm>
          <a:prstGeom prst="rect">
            <a:avLst/>
          </a:prstGeom>
          <a:noFill/>
          <a:ln>
            <a:noFill/>
          </a:ln>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Tree>
    <p:extLst>
      <p:ext uri="{BB962C8B-B14F-4D97-AF65-F5344CB8AC3E}">
        <p14:creationId xmlns:p14="http://schemas.microsoft.com/office/powerpoint/2010/main" val="20028933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 Text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7794" y="388063"/>
            <a:ext cx="9457359" cy="731610"/>
          </a:xfrm>
        </p:spPr>
        <p:txBody>
          <a:bodyPr anchor="ctr"/>
          <a:lstStyle>
            <a:lvl1pPr>
              <a:defRPr>
                <a:solidFill>
                  <a:schemeClr val="accent2"/>
                </a:solidFill>
                <a:latin typeface="Open Sans" panose="020B0606030504020204" pitchFamily="34" charset="0"/>
              </a:defRPr>
            </a:lvl1pPr>
          </a:lstStyle>
          <a:p>
            <a:r>
              <a:rPr lang="en-US" dirty="0"/>
              <a:t>Title</a:t>
            </a:r>
          </a:p>
        </p:txBody>
      </p:sp>
      <p:sp>
        <p:nvSpPr>
          <p:cNvPr id="4" name="Content Placeholder 3"/>
          <p:cNvSpPr>
            <a:spLocks noGrp="1"/>
          </p:cNvSpPr>
          <p:nvPr>
            <p:ph sz="quarter" idx="10" hasCustomPrompt="1"/>
          </p:nvPr>
        </p:nvSpPr>
        <p:spPr>
          <a:xfrm>
            <a:off x="457319" y="1600200"/>
            <a:ext cx="9452850" cy="4635500"/>
          </a:xfrm>
        </p:spPr>
        <p:txBody>
          <a:bodyPr/>
          <a:lstStyle>
            <a:lvl1pPr>
              <a:defRPr sz="1800">
                <a:latin typeface="Open Sans" panose="020B0606030504020204" pitchFamily="34" charset="0"/>
              </a:defRPr>
            </a:lvl1pPr>
            <a:lvl2pPr>
              <a:defRPr sz="1800">
                <a:latin typeface="Open Sans" panose="020B0606030504020204" pitchFamily="34" charset="0"/>
              </a:defRPr>
            </a:lvl2pPr>
            <a:lvl3pPr>
              <a:defRPr sz="1800">
                <a:latin typeface="Open Sans" panose="020B0606030504020204" pitchFamily="34" charset="0"/>
              </a:defRPr>
            </a:lvl3pPr>
            <a:lvl4pPr>
              <a:defRPr sz="1800"/>
            </a:lvl4pPr>
            <a:lvl5pPr>
              <a:defRPr sz="1800"/>
            </a:lvl5pPr>
          </a:lstStyle>
          <a:p>
            <a:pPr lvl="0"/>
            <a:r>
              <a:rPr lang="en-US" dirty="0"/>
              <a:t>First-level</a:t>
            </a:r>
          </a:p>
          <a:p>
            <a:pPr lvl="1"/>
            <a:r>
              <a:rPr lang="en-US" dirty="0"/>
              <a:t>Second-level</a:t>
            </a:r>
          </a:p>
          <a:p>
            <a:pPr lvl="2"/>
            <a:r>
              <a:rPr lang="en-US" dirty="0"/>
              <a:t>Third-level</a:t>
            </a:r>
          </a:p>
        </p:txBody>
      </p:sp>
    </p:spTree>
    <p:extLst>
      <p:ext uri="{BB962C8B-B14F-4D97-AF65-F5344CB8AC3E}">
        <p14:creationId xmlns:p14="http://schemas.microsoft.com/office/powerpoint/2010/main" val="39205040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guide id="3" orient="horz" pos="392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Division">
    <p:bg>
      <p:bgPr>
        <a:solidFill>
          <a:srgbClr val="064E69"/>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972494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3" name="think-cell Slide" r:id="rId4" imgW="498" imgH="499" progId="TCLayout.ActiveDocument.1">
                  <p:embed/>
                </p:oleObj>
              </mc:Choice>
              <mc:Fallback>
                <p:oleObj name="think-cell Slide" r:id="rId4" imgW="498" imgH="49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a:spLocks noChangeAspect="1"/>
          </p:cNvSpPr>
          <p:nvPr/>
        </p:nvSpPr>
        <p:spPr>
          <a:xfrm>
            <a:off x="7751366" y="0"/>
            <a:ext cx="444063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solidFill>
                <a:schemeClr val="accent4"/>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p:cNvSpPr/>
          <p:nvPr/>
        </p:nvSpPr>
        <p:spPr>
          <a:xfrm>
            <a:off x="7629890" y="0"/>
            <a:ext cx="121476" cy="685800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Arial" panose="020B0604020202020204" pitchFamily="34" charset="0"/>
              <a:cs typeface="Arial" panose="020B0604020202020204" pitchFamily="34" charset="0"/>
              <a:sym typeface="Arial" panose="020B0604020202020204" pitchFamily="34" charset="0"/>
            </a:endParaRPr>
          </a:p>
        </p:txBody>
      </p:sp>
      <p:grpSp>
        <p:nvGrpSpPr>
          <p:cNvPr id="10" name="Group 9"/>
          <p:cNvGrpSpPr/>
          <p:nvPr userDrawn="1"/>
        </p:nvGrpSpPr>
        <p:grpSpPr>
          <a:xfrm>
            <a:off x="834187" y="5051932"/>
            <a:ext cx="2121961" cy="1172755"/>
            <a:chOff x="834187" y="5007328"/>
            <a:chExt cx="2121961" cy="1172755"/>
          </a:xfrm>
        </p:grpSpPr>
        <p:sp>
          <p:nvSpPr>
            <p:cNvPr id="12" name="TextBox 11"/>
            <p:cNvSpPr txBox="1">
              <a:spLocks/>
            </p:cNvSpPr>
            <p:nvPr/>
          </p:nvSpPr>
          <p:spPr>
            <a:xfrm>
              <a:off x="1476280" y="5399774"/>
              <a:ext cx="335594" cy="263468"/>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3" name="TextBox 12"/>
            <p:cNvSpPr txBox="1">
              <a:spLocks/>
            </p:cNvSpPr>
            <p:nvPr/>
          </p:nvSpPr>
          <p:spPr>
            <a:xfrm>
              <a:off x="1205971" y="5416132"/>
              <a:ext cx="250308" cy="25059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4" name="TextBox 13"/>
            <p:cNvSpPr txBox="1">
              <a:spLocks/>
            </p:cNvSpPr>
            <p:nvPr/>
          </p:nvSpPr>
          <p:spPr>
            <a:xfrm>
              <a:off x="1840684" y="5487481"/>
              <a:ext cx="169193" cy="17924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5" name="TextBox 14"/>
            <p:cNvSpPr txBox="1">
              <a:spLocks/>
            </p:cNvSpPr>
            <p:nvPr/>
          </p:nvSpPr>
          <p:spPr>
            <a:xfrm>
              <a:off x="2024603" y="5487481"/>
              <a:ext cx="173719" cy="17924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6" name="TextBox 15"/>
            <p:cNvSpPr txBox="1">
              <a:spLocks/>
            </p:cNvSpPr>
            <p:nvPr/>
          </p:nvSpPr>
          <p:spPr>
            <a:xfrm>
              <a:off x="1727626" y="5490962"/>
              <a:ext cx="97129" cy="172281"/>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7" name="TextBox 16"/>
            <p:cNvSpPr txBox="1">
              <a:spLocks/>
            </p:cNvSpPr>
            <p:nvPr/>
          </p:nvSpPr>
          <p:spPr>
            <a:xfrm>
              <a:off x="1909962" y="5713507"/>
              <a:ext cx="223154" cy="25059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8" name="TextBox 17"/>
            <p:cNvSpPr txBox="1">
              <a:spLocks/>
            </p:cNvSpPr>
            <p:nvPr/>
          </p:nvSpPr>
          <p:spPr>
            <a:xfrm>
              <a:off x="2422311" y="5713507"/>
              <a:ext cx="250308" cy="25059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9" name="TextBox 18"/>
            <p:cNvSpPr txBox="1">
              <a:spLocks/>
            </p:cNvSpPr>
            <p:nvPr/>
          </p:nvSpPr>
          <p:spPr>
            <a:xfrm>
              <a:off x="2148125" y="5713855"/>
              <a:ext cx="257619" cy="2467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25" name="Group 24"/>
            <p:cNvGrpSpPr/>
            <p:nvPr/>
          </p:nvGrpSpPr>
          <p:grpSpPr>
            <a:xfrm>
              <a:off x="1465810" y="5723666"/>
              <a:ext cx="414429" cy="91688"/>
              <a:chOff x="1465428" y="5723666"/>
              <a:chExt cx="414321" cy="91688"/>
            </a:xfrm>
          </p:grpSpPr>
          <p:sp>
            <p:nvSpPr>
              <p:cNvPr id="20" name="TextBox 19"/>
              <p:cNvSpPr txBox="1">
                <a:spLocks/>
              </p:cNvSpPr>
              <p:nvPr/>
            </p:nvSpPr>
            <p:spPr>
              <a:xfrm>
                <a:off x="1465428" y="5723666"/>
                <a:ext cx="90135" cy="91688"/>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1" name="TextBox 20"/>
              <p:cNvSpPr txBox="1">
                <a:spLocks/>
              </p:cNvSpPr>
              <p:nvPr/>
            </p:nvSpPr>
            <p:spPr>
              <a:xfrm>
                <a:off x="1569024" y="5725066"/>
                <a:ext cx="54618" cy="89069"/>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2" name="TextBox 21"/>
              <p:cNvSpPr txBox="1">
                <a:spLocks/>
              </p:cNvSpPr>
              <p:nvPr/>
            </p:nvSpPr>
            <p:spPr>
              <a:xfrm>
                <a:off x="1648696" y="5725066"/>
                <a:ext cx="73449" cy="89069"/>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3" name="TextBox 22"/>
              <p:cNvSpPr txBox="1">
                <a:spLocks/>
              </p:cNvSpPr>
              <p:nvPr/>
            </p:nvSpPr>
            <p:spPr>
              <a:xfrm>
                <a:off x="1733195" y="5725066"/>
                <a:ext cx="74387" cy="89069"/>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4" name="TextBox 23"/>
              <p:cNvSpPr txBox="1">
                <a:spLocks/>
              </p:cNvSpPr>
              <p:nvPr/>
            </p:nvSpPr>
            <p:spPr>
              <a:xfrm>
                <a:off x="1825131" y="5725066"/>
                <a:ext cx="54618" cy="89069"/>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11" name="Freeform 9"/>
            <p:cNvSpPr>
              <a:spLocks noEditPoints="1"/>
            </p:cNvSpPr>
            <p:nvPr/>
          </p:nvSpPr>
          <p:spPr bwMode="auto">
            <a:xfrm>
              <a:off x="834187" y="5007328"/>
              <a:ext cx="2121961" cy="1172755"/>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p:spPr>
          <p:txBody>
            <a:bodyPr vert="horz" wrap="square" lIns="91440" tIns="45720" rIns="91440" bIns="45720" numCol="1" anchor="t" anchorCtr="0" compatLnSpc="1">
              <a:prstTxWarp prst="textNoShape">
                <a:avLst/>
              </a:prstTxWarp>
            </a:bodyPr>
            <a:lstStyle/>
            <a:p>
              <a:endParaRPr lang="en-US" sz="1800">
                <a:latin typeface="Arial" panose="020B0604020202020204" pitchFamily="34" charset="0"/>
                <a:cs typeface="Arial" panose="020B0604020202020204" pitchFamily="34" charset="0"/>
                <a:sym typeface="Arial" panose="020B0604020202020204" pitchFamily="34" charset="0"/>
              </a:endParaRPr>
            </a:p>
          </p:txBody>
        </p:sp>
      </p:grpSp>
      <p:sp>
        <p:nvSpPr>
          <p:cNvPr id="26" name="Text Placeholder 7"/>
          <p:cNvSpPr>
            <a:spLocks noGrp="1"/>
          </p:cNvSpPr>
          <p:nvPr>
            <p:ph type="body" sz="quarter" idx="11" hasCustomPrompt="1"/>
          </p:nvPr>
        </p:nvSpPr>
        <p:spPr>
          <a:xfrm>
            <a:off x="4078427" y="5460984"/>
            <a:ext cx="2844943" cy="431800"/>
          </a:xfrm>
          <a:prstGeom prst="rect">
            <a:avLst/>
          </a:prstGeom>
        </p:spPr>
        <p:txBody>
          <a:bodyPr rIns="0" anchor="b"/>
          <a:lstStyle>
            <a:lvl1pPr algn="r">
              <a:defRPr sz="1200"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Presenter Name</a:t>
            </a:r>
            <a:endParaRPr lang="tr-TR" dirty="0"/>
          </a:p>
        </p:txBody>
      </p:sp>
      <p:sp>
        <p:nvSpPr>
          <p:cNvPr id="27" name="Title 1"/>
          <p:cNvSpPr>
            <a:spLocks noGrp="1"/>
          </p:cNvSpPr>
          <p:nvPr>
            <p:ph type="ctrTitle" hasCustomPrompt="1"/>
          </p:nvPr>
        </p:nvSpPr>
        <p:spPr>
          <a:xfrm>
            <a:off x="822960" y="640080"/>
            <a:ext cx="5585018" cy="2630356"/>
          </a:xfrm>
          <a:prstGeom prst="rect">
            <a:avLst/>
          </a:prstGeom>
        </p:spPr>
        <p:txBody>
          <a:bodyPr lIns="0" anchor="t"/>
          <a:lstStyle>
            <a:lvl1pPr algn="l">
              <a:lnSpc>
                <a:spcPct val="80000"/>
              </a:lnSpc>
              <a:defRPr sz="7200"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dirty="0"/>
              <a:t>Cover Slide Title</a:t>
            </a:r>
          </a:p>
        </p:txBody>
      </p:sp>
      <p:sp>
        <p:nvSpPr>
          <p:cNvPr id="30" name="Text Placeholder 7"/>
          <p:cNvSpPr>
            <a:spLocks noGrp="1"/>
          </p:cNvSpPr>
          <p:nvPr>
            <p:ph type="body" sz="quarter" idx="12" hasCustomPrompt="1"/>
          </p:nvPr>
        </p:nvSpPr>
        <p:spPr>
          <a:xfrm>
            <a:off x="822960" y="3383280"/>
            <a:ext cx="5578857" cy="431800"/>
          </a:xfrm>
          <a:prstGeom prst="rect">
            <a:avLst/>
          </a:prstGeom>
        </p:spPr>
        <p:txBody>
          <a:bodyPr lIns="0" anchor="ctr" anchorCtr="0"/>
          <a:lstStyle>
            <a:lvl1pPr algn="l">
              <a:defRPr sz="2400"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Second Level Title</a:t>
            </a:r>
            <a:endParaRPr lang="tr-TR" dirty="0"/>
          </a:p>
        </p:txBody>
      </p:sp>
      <p:sp>
        <p:nvSpPr>
          <p:cNvPr id="31" name="Text Placeholder 7"/>
          <p:cNvSpPr>
            <a:spLocks noGrp="1"/>
          </p:cNvSpPr>
          <p:nvPr>
            <p:ph type="body" sz="quarter" idx="13" hasCustomPrompt="1"/>
          </p:nvPr>
        </p:nvSpPr>
        <p:spPr>
          <a:xfrm>
            <a:off x="4078427" y="5892928"/>
            <a:ext cx="2844943" cy="431800"/>
          </a:xfrm>
          <a:prstGeom prst="rect">
            <a:avLst/>
          </a:prstGeom>
        </p:spPr>
        <p:txBody>
          <a:bodyPr rIns="0" anchor="b"/>
          <a:lstStyle>
            <a:lvl1pPr algn="r">
              <a:defRPr sz="1800"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Date</a:t>
            </a:r>
            <a:endParaRPr lang="tr-TR" dirty="0"/>
          </a:p>
        </p:txBody>
      </p:sp>
      <p:sp>
        <p:nvSpPr>
          <p:cNvPr id="32" name="Picture Placeholder 5"/>
          <p:cNvSpPr>
            <a:spLocks noGrp="1"/>
          </p:cNvSpPr>
          <p:nvPr>
            <p:ph type="pic" sz="quarter" idx="14" hasCustomPrompt="1"/>
          </p:nvPr>
        </p:nvSpPr>
        <p:spPr>
          <a:xfrm>
            <a:off x="7751365" y="0"/>
            <a:ext cx="4440635" cy="3283083"/>
          </a:xfrm>
          <a:prstGeom prst="rect">
            <a:avLst/>
          </a:prstGeom>
          <a:solidFill>
            <a:schemeClr val="bg2"/>
          </a:solidFill>
        </p:spPr>
        <p:txBody>
          <a:bodyPr anchor="ctr"/>
          <a:lstStyle>
            <a:lvl1pPr algn="ctr">
              <a:defRPr sz="320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IMAGE</a:t>
            </a:r>
          </a:p>
        </p:txBody>
      </p:sp>
      <p:sp>
        <p:nvSpPr>
          <p:cNvPr id="29" name="Rectangle 28">
            <a:extLst>
              <a:ext uri="{FF2B5EF4-FFF2-40B4-BE49-F238E27FC236}">
                <a16:creationId xmlns:a16="http://schemas.microsoft.com/office/drawing/2014/main" id="{18E5268C-C141-4840-9D00-CD333097B788}"/>
              </a:ext>
            </a:extLst>
          </p:cNvPr>
          <p:cNvSpPr/>
          <p:nvPr userDrawn="1"/>
        </p:nvSpPr>
        <p:spPr>
          <a:xfrm>
            <a:off x="7749346" y="3314331"/>
            <a:ext cx="4442653" cy="52993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4008" rIns="0" bIns="45720" numCol="1" spcCol="0" rtlCol="0" fromWordArt="0" anchor="ctr" anchorCtr="0" forceAA="0" compatLnSpc="1">
            <a:prstTxWarp prst="textNoShape">
              <a:avLst/>
            </a:prstTxWarp>
            <a:noAutofit/>
          </a:bodyPr>
          <a:lstStyle/>
          <a:p>
            <a:pPr algn="ctr">
              <a:lnSpc>
                <a:spcPct val="85000"/>
              </a:lnSpc>
            </a:pPr>
            <a:endParaRPr lang="en-US" sz="1600" b="1" dirty="0">
              <a:solidFill>
                <a:schemeClr val="accent2"/>
              </a:solidFill>
              <a:latin typeface="Arial" panose="020B0604020202020204" pitchFamily="34" charset="0"/>
              <a:cs typeface="Arial" panose="020B0604020202020204" pitchFamily="34" charset="0"/>
              <a:sym typeface="Arial" panose="020B0604020202020204" pitchFamily="34" charset="0"/>
            </a:endParaRPr>
          </a:p>
        </p:txBody>
      </p:sp>
      <p:sp>
        <p:nvSpPr>
          <p:cNvPr id="33" name="Rectangle 32"/>
          <p:cNvSpPr/>
          <p:nvPr userDrawn="1"/>
        </p:nvSpPr>
        <p:spPr>
          <a:xfrm>
            <a:off x="7749346" y="3283084"/>
            <a:ext cx="4442654" cy="74842"/>
          </a:xfrm>
          <a:prstGeom prst="rect">
            <a:avLst/>
          </a:prstGeom>
          <a:solidFill>
            <a:srgbClr val="043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sym typeface="Arial" panose="020B0604020202020204" pitchFamily="34" charset="0"/>
            </a:endParaRPr>
          </a:p>
        </p:txBody>
      </p:sp>
      <p:sp>
        <p:nvSpPr>
          <p:cNvPr id="34" name="Rectangle 33"/>
          <p:cNvSpPr/>
          <p:nvPr userDrawn="1"/>
        </p:nvSpPr>
        <p:spPr>
          <a:xfrm>
            <a:off x="7749345" y="3799295"/>
            <a:ext cx="4442654" cy="74842"/>
          </a:xfrm>
          <a:prstGeom prst="rect">
            <a:avLst/>
          </a:prstGeom>
          <a:solidFill>
            <a:srgbClr val="043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sym typeface="Arial" panose="020B0604020202020204" pitchFamily="34" charset="0"/>
            </a:endParaRPr>
          </a:p>
        </p:txBody>
      </p:sp>
      <p:sp>
        <p:nvSpPr>
          <p:cNvPr id="36" name="Text Placeholder 35"/>
          <p:cNvSpPr>
            <a:spLocks noGrp="1"/>
          </p:cNvSpPr>
          <p:nvPr>
            <p:ph type="body" sz="quarter" idx="15" hasCustomPrompt="1"/>
          </p:nvPr>
        </p:nvSpPr>
        <p:spPr>
          <a:xfrm>
            <a:off x="7749344" y="3374405"/>
            <a:ext cx="4442656" cy="438517"/>
          </a:xfrm>
          <a:prstGeom prst="rect">
            <a:avLst/>
          </a:prstGeom>
        </p:spPr>
        <p:txBody>
          <a:bodyPr anchor="ctr"/>
          <a:lstStyle>
            <a:lvl1pPr marL="0" algn="ctr" defTabSz="914400" rtl="0" eaLnBrk="1" latinLnBrk="0" hangingPunct="1">
              <a:lnSpc>
                <a:spcPct val="85000"/>
              </a:lnSpc>
              <a:defRPr lang="en-US" sz="1600" b="1" kern="1200" dirty="0">
                <a:solidFill>
                  <a:schemeClr val="accent2"/>
                </a:solidFill>
                <a:latin typeface="Arial" panose="020B0604020202020204" pitchFamily="34" charset="0"/>
                <a:ea typeface="+mn-ea"/>
                <a:cs typeface="Arial" panose="020B0604020202020204" pitchFamily="34" charset="0"/>
                <a:sym typeface="Arial" panose="020B0604020202020204" pitchFamily="34" charset="0"/>
              </a:defRPr>
            </a:lvl1pPr>
          </a:lstStyle>
          <a:p>
            <a:pPr lvl="0"/>
            <a:r>
              <a:rPr lang="en-US" dirty="0"/>
              <a:t>&lt;DIVISION NAME&gt;</a:t>
            </a:r>
          </a:p>
        </p:txBody>
      </p:sp>
      <p:grpSp>
        <p:nvGrpSpPr>
          <p:cNvPr id="35" name="Group 34">
            <a:extLst>
              <a:ext uri="{FF2B5EF4-FFF2-40B4-BE49-F238E27FC236}">
                <a16:creationId xmlns:a16="http://schemas.microsoft.com/office/drawing/2014/main" id="{0860573B-7502-4EE6-AE67-B3B2FFD71F32}"/>
              </a:ext>
            </a:extLst>
          </p:cNvPr>
          <p:cNvGrpSpPr>
            <a:grpSpLocks noChangeAspect="1"/>
          </p:cNvGrpSpPr>
          <p:nvPr userDrawn="1"/>
        </p:nvGrpSpPr>
        <p:grpSpPr>
          <a:xfrm>
            <a:off x="9472900" y="5931510"/>
            <a:ext cx="2192529" cy="292877"/>
            <a:chOff x="279400" y="2781300"/>
            <a:chExt cx="8585200" cy="1092200"/>
          </a:xfrm>
        </p:grpSpPr>
        <p:sp>
          <p:nvSpPr>
            <p:cNvPr id="37" name="Freeform 5">
              <a:extLst>
                <a:ext uri="{FF2B5EF4-FFF2-40B4-BE49-F238E27FC236}">
                  <a16:creationId xmlns:a16="http://schemas.microsoft.com/office/drawing/2014/main" id="{264CBBCF-7D70-4513-96B2-BDE78A1BE2AC}"/>
                </a:ext>
              </a:extLst>
            </p:cNvPr>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8" name="Freeform 6">
              <a:extLst>
                <a:ext uri="{FF2B5EF4-FFF2-40B4-BE49-F238E27FC236}">
                  <a16:creationId xmlns:a16="http://schemas.microsoft.com/office/drawing/2014/main" id="{CB55B7D8-3723-4CA7-83E2-4ECF2520F18B}"/>
                </a:ext>
              </a:extLst>
            </p:cNvPr>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9" name="Freeform 7">
              <a:extLst>
                <a:ext uri="{FF2B5EF4-FFF2-40B4-BE49-F238E27FC236}">
                  <a16:creationId xmlns:a16="http://schemas.microsoft.com/office/drawing/2014/main" id="{66826270-096D-4A0F-B57D-78D557210E97}"/>
                </a:ext>
              </a:extLst>
            </p:cNvPr>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0" name="Freeform 8">
              <a:extLst>
                <a:ext uri="{FF2B5EF4-FFF2-40B4-BE49-F238E27FC236}">
                  <a16:creationId xmlns:a16="http://schemas.microsoft.com/office/drawing/2014/main" id="{D644210C-71FB-46C2-BB06-3DAD03BC87A0}"/>
                </a:ext>
              </a:extLst>
            </p:cNvPr>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1" name="Freeform 9">
              <a:extLst>
                <a:ext uri="{FF2B5EF4-FFF2-40B4-BE49-F238E27FC236}">
                  <a16:creationId xmlns:a16="http://schemas.microsoft.com/office/drawing/2014/main" id="{6BD464F9-CB86-4782-98A8-138D13B22E79}"/>
                </a:ext>
              </a:extLst>
            </p:cNvPr>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2" name="Freeform 10">
              <a:extLst>
                <a:ext uri="{FF2B5EF4-FFF2-40B4-BE49-F238E27FC236}">
                  <a16:creationId xmlns:a16="http://schemas.microsoft.com/office/drawing/2014/main" id="{4A8BDCE4-6FCC-47A7-9CDE-4AC06B36DA13}"/>
                </a:ext>
              </a:extLst>
            </p:cNvPr>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3" name="Freeform 11">
              <a:extLst>
                <a:ext uri="{FF2B5EF4-FFF2-40B4-BE49-F238E27FC236}">
                  <a16:creationId xmlns:a16="http://schemas.microsoft.com/office/drawing/2014/main" id="{331AB147-689A-43A6-B970-E8CB2BE02D79}"/>
                </a:ext>
              </a:extLst>
            </p:cNvPr>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4" name="Freeform 12">
              <a:extLst>
                <a:ext uri="{FF2B5EF4-FFF2-40B4-BE49-F238E27FC236}">
                  <a16:creationId xmlns:a16="http://schemas.microsoft.com/office/drawing/2014/main" id="{AA8CC35E-627A-410D-9CC1-5DFD27072BFF}"/>
                </a:ext>
              </a:extLst>
            </p:cNvPr>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5" name="Freeform 13">
              <a:extLst>
                <a:ext uri="{FF2B5EF4-FFF2-40B4-BE49-F238E27FC236}">
                  <a16:creationId xmlns:a16="http://schemas.microsoft.com/office/drawing/2014/main" id="{A6104163-5896-46B6-AC7E-D2E4D25EC2F7}"/>
                </a:ext>
              </a:extLst>
            </p:cNvPr>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6" name="Freeform 14">
              <a:extLst>
                <a:ext uri="{FF2B5EF4-FFF2-40B4-BE49-F238E27FC236}">
                  <a16:creationId xmlns:a16="http://schemas.microsoft.com/office/drawing/2014/main" id="{481FE757-1FA8-48AB-BF72-DF393E4A3A65}"/>
                </a:ext>
              </a:extLst>
            </p:cNvPr>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spTree>
    <p:extLst>
      <p:ext uri="{BB962C8B-B14F-4D97-AF65-F5344CB8AC3E}">
        <p14:creationId xmlns:p14="http://schemas.microsoft.com/office/powerpoint/2010/main" val="3437389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bg>
      <p:bgPr>
        <a:solidFill>
          <a:srgbClr val="064E69"/>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652224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7" name="think-cell Slide" r:id="rId4" imgW="498" imgH="499" progId="TCLayout.ActiveDocument.1">
                  <p:embed/>
                </p:oleObj>
              </mc:Choice>
              <mc:Fallback>
                <p:oleObj name="think-cell Slide" r:id="rId4" imgW="498" imgH="49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Picture Placeholder 5"/>
          <p:cNvSpPr>
            <a:spLocks noGrp="1"/>
          </p:cNvSpPr>
          <p:nvPr>
            <p:ph type="pic" sz="quarter" idx="13" hasCustomPrompt="1"/>
          </p:nvPr>
        </p:nvSpPr>
        <p:spPr>
          <a:xfrm>
            <a:off x="0" y="0"/>
            <a:ext cx="4990623" cy="6858000"/>
          </a:xfrm>
          <a:prstGeom prst="rect">
            <a:avLst/>
          </a:prstGeom>
          <a:solidFill>
            <a:schemeClr val="bg2"/>
          </a:solidFill>
        </p:spPr>
        <p:txBody>
          <a:bodyPr anchor="ctr"/>
          <a:lstStyle>
            <a:lvl1pPr algn="ctr">
              <a:defRPr sz="320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IMAGE</a:t>
            </a:r>
          </a:p>
        </p:txBody>
      </p:sp>
      <p:sp>
        <p:nvSpPr>
          <p:cNvPr id="3" name="Rectangle 2"/>
          <p:cNvSpPr/>
          <p:nvPr userDrawn="1"/>
        </p:nvSpPr>
        <p:spPr>
          <a:xfrm flipH="1">
            <a:off x="4990624" y="0"/>
            <a:ext cx="157730" cy="6858000"/>
          </a:xfrm>
          <a:prstGeom prst="rect">
            <a:avLst/>
          </a:prstGeom>
          <a:solidFill>
            <a:srgbClr val="043A4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schemeClr val="bg2">
                  <a:lumMod val="40000"/>
                  <a:lumOff val="6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4" name="Rectangle 3"/>
          <p:cNvSpPr/>
          <p:nvPr userDrawn="1"/>
        </p:nvSpPr>
        <p:spPr>
          <a:xfrm>
            <a:off x="5148355" y="1"/>
            <a:ext cx="7042059" cy="23612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sym typeface="Arial" panose="020B0604020202020204" pitchFamily="34" charset="0"/>
            </a:endParaRPr>
          </a:p>
        </p:txBody>
      </p:sp>
      <p:sp>
        <p:nvSpPr>
          <p:cNvPr id="8" name="Title 1"/>
          <p:cNvSpPr>
            <a:spLocks noGrp="1"/>
          </p:cNvSpPr>
          <p:nvPr>
            <p:ph type="ctrTitle" hasCustomPrompt="1"/>
          </p:nvPr>
        </p:nvSpPr>
        <p:spPr>
          <a:xfrm>
            <a:off x="5713191" y="1347025"/>
            <a:ext cx="6087634" cy="707944"/>
          </a:xfrm>
          <a:prstGeom prst="rect">
            <a:avLst/>
          </a:prstGeom>
        </p:spPr>
        <p:txBody>
          <a:bodyPr lIns="0" anchor="t"/>
          <a:lstStyle>
            <a:lvl1pPr marL="0" indent="0" algn="l" defTabSz="914400" rtl="0" eaLnBrk="1" latinLnBrk="0" hangingPunct="1">
              <a:lnSpc>
                <a:spcPct val="80000"/>
              </a:lnSpc>
              <a:spcBef>
                <a:spcPts val="1200"/>
              </a:spcBef>
              <a:spcAft>
                <a:spcPts val="0"/>
              </a:spcAft>
              <a:buClrTx/>
              <a:buFontTx/>
              <a:buNone/>
              <a:tabLst>
                <a:tab pos="1201738" algn="l"/>
              </a:tabLst>
              <a:defRPr lang="en-US" sz="5400" b="1" i="0" kern="1200" baseline="0" dirty="0">
                <a:solidFill>
                  <a:schemeClr val="tx2"/>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Table of Contents</a:t>
            </a:r>
          </a:p>
        </p:txBody>
      </p:sp>
      <p:sp>
        <p:nvSpPr>
          <p:cNvPr id="9" name="Text Placeholder 7"/>
          <p:cNvSpPr>
            <a:spLocks noGrp="1"/>
          </p:cNvSpPr>
          <p:nvPr>
            <p:ph type="body" sz="quarter" idx="12" hasCustomPrompt="1"/>
          </p:nvPr>
        </p:nvSpPr>
        <p:spPr>
          <a:xfrm>
            <a:off x="5713191" y="2623839"/>
            <a:ext cx="5578857" cy="431800"/>
          </a:xfrm>
          <a:prstGeom prst="rect">
            <a:avLst/>
          </a:prstGeom>
        </p:spPr>
        <p:txBody>
          <a:bodyPr lIns="0" anchor="t" anchorCtr="0"/>
          <a:lstStyle>
            <a:lvl1pPr algn="l">
              <a:defRPr sz="2400"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Page titles</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ain Internal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53745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1" name="think-cell Slide" r:id="rId4" imgW="498" imgH="499" progId="TCLayout.ActiveDocument.1">
                  <p:embed/>
                </p:oleObj>
              </mc:Choice>
              <mc:Fallback>
                <p:oleObj name="think-cell Slide" r:id="rId4" imgW="498" imgH="499"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5" name="Rectangle 54"/>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56" name="Rectangle 55"/>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Arial" panose="020B0604020202020204" pitchFamily="34" charset="0"/>
              <a:cs typeface="Arial" panose="020B0604020202020204" pitchFamily="34" charset="0"/>
              <a:sym typeface="Arial" panose="020B0604020202020204" pitchFamily="34" charset="0"/>
            </a:endParaRPr>
          </a:p>
        </p:txBody>
      </p:sp>
      <p:sp>
        <p:nvSpPr>
          <p:cNvPr id="57"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Title</a:t>
            </a:r>
          </a:p>
        </p:txBody>
      </p:sp>
      <p:sp>
        <p:nvSpPr>
          <p:cNvPr id="58"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Subtitle</a:t>
            </a:r>
          </a:p>
        </p:txBody>
      </p:sp>
      <p:cxnSp>
        <p:nvCxnSpPr>
          <p:cNvPr id="59" name="Straight Connector 58"/>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3" name="TextBox 62"/>
          <p:cNvSpPr txBox="1">
            <a:spLocks/>
          </p:cNvSpPr>
          <p:nvPr/>
        </p:nvSpPr>
        <p:spPr>
          <a:xfrm>
            <a:off x="11008872" y="633221"/>
            <a:ext cx="224212"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4" name="TextBox 63"/>
          <p:cNvSpPr txBox="1">
            <a:spLocks/>
          </p:cNvSpPr>
          <p:nvPr/>
        </p:nvSpPr>
        <p:spPr>
          <a:xfrm>
            <a:off x="10828278" y="644150"/>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5" name="TextBox 64"/>
          <p:cNvSpPr txBox="1">
            <a:spLocks/>
          </p:cNvSpPr>
          <p:nvPr/>
        </p:nvSpPr>
        <p:spPr>
          <a:xfrm>
            <a:off x="11252333" y="691818"/>
            <a:ext cx="113038"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6" name="TextBox 65"/>
          <p:cNvSpPr txBox="1">
            <a:spLocks/>
          </p:cNvSpPr>
          <p:nvPr/>
        </p:nvSpPr>
        <p:spPr>
          <a:xfrm>
            <a:off x="11375209" y="691818"/>
            <a:ext cx="11606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7" name="TextBox 66"/>
          <p:cNvSpPr txBox="1">
            <a:spLocks/>
          </p:cNvSpPr>
          <p:nvPr/>
        </p:nvSpPr>
        <p:spPr>
          <a:xfrm>
            <a:off x="11176798" y="694143"/>
            <a:ext cx="64892"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8" name="TextBox 67"/>
          <p:cNvSpPr txBox="1">
            <a:spLocks/>
          </p:cNvSpPr>
          <p:nvPr/>
        </p:nvSpPr>
        <p:spPr>
          <a:xfrm>
            <a:off x="11298619" y="842827"/>
            <a:ext cx="149090"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9" name="TextBox 68"/>
          <p:cNvSpPr txBox="1">
            <a:spLocks/>
          </p:cNvSpPr>
          <p:nvPr/>
        </p:nvSpPr>
        <p:spPr>
          <a:xfrm>
            <a:off x="11640919" y="842827"/>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0" name="TextBox 69"/>
          <p:cNvSpPr txBox="1">
            <a:spLocks/>
          </p:cNvSpPr>
          <p:nvPr/>
        </p:nvSpPr>
        <p:spPr>
          <a:xfrm>
            <a:off x="11457735" y="843060"/>
            <a:ext cx="172117"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2" name="Group 1"/>
          <p:cNvGrpSpPr/>
          <p:nvPr/>
        </p:nvGrpSpPr>
        <p:grpSpPr>
          <a:xfrm>
            <a:off x="11001879" y="849615"/>
            <a:ext cx="276881" cy="61257"/>
            <a:chOff x="10999013" y="849614"/>
            <a:chExt cx="276809" cy="61257"/>
          </a:xfrm>
          <a:solidFill>
            <a:schemeClr val="accent3"/>
          </a:solidFill>
        </p:grpSpPr>
        <p:sp>
          <p:nvSpPr>
            <p:cNvPr id="71" name="TextBox 70"/>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2" name="TextBox 71"/>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3" name="TextBox 72"/>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4" name="TextBox 73"/>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5" name="TextBox 74"/>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62" name="Freeform 9"/>
          <p:cNvSpPr>
            <a:spLocks noEditPoints="1"/>
          </p:cNvSpPr>
          <p:nvPr/>
        </p:nvSpPr>
        <p:spPr bwMode="auto">
          <a:xfrm>
            <a:off x="10579888" y="371026"/>
            <a:ext cx="1417689"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p:spPr>
        <p:txBody>
          <a:bodyPr vert="horz" wrap="square" lIns="91440" tIns="45720" rIns="91440" bIns="45720" numCol="1" anchor="t" anchorCtr="0" compatLnSpc="1">
            <a:prstTxWarp prst="textNoShape">
              <a:avLst/>
            </a:prstTxWarp>
          </a:bodyPr>
          <a:lstStyle/>
          <a:p>
            <a:endParaRPr lang="en-US" sz="1800">
              <a:latin typeface="Arial" panose="020B0604020202020204" pitchFamily="34" charset="0"/>
              <a:cs typeface="Arial" panose="020B0604020202020204" pitchFamily="34" charset="0"/>
              <a:sym typeface="Arial" panose="020B0604020202020204" pitchFamily="34" charset="0"/>
            </a:endParaRPr>
          </a:p>
        </p:txBody>
      </p:sp>
      <p:sp>
        <p:nvSpPr>
          <p:cNvPr id="5" name="Text Placeholder 4"/>
          <p:cNvSpPr>
            <a:spLocks noGrp="1"/>
          </p:cNvSpPr>
          <p:nvPr>
            <p:ph type="body" sz="quarter" idx="12" hasCustomPrompt="1"/>
          </p:nvPr>
        </p:nvSpPr>
        <p:spPr>
          <a:xfrm>
            <a:off x="457200" y="2011681"/>
            <a:ext cx="11272838" cy="4174867"/>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en-US" dirty="0"/>
              <a:t>Body text</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lternate Internal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987701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5" name="think-cell Slide" r:id="rId4" imgW="498" imgH="499" progId="TCLayout.ActiveDocument.1">
                  <p:embed/>
                </p:oleObj>
              </mc:Choice>
              <mc:Fallback>
                <p:oleObj name="think-cell Slide" r:id="rId4" imgW="498" imgH="499"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a:xfrm flipH="1">
            <a:off x="-2" y="1549668"/>
            <a:ext cx="4297680" cy="5308333"/>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solidFill>
                <a:schemeClr val="bg2">
                  <a:lumMod val="20000"/>
                  <a:lumOff val="8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3" name="Rectangle 2"/>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4" name="Rectangle 3"/>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Arial" panose="020B0604020202020204" pitchFamily="34" charset="0"/>
              <a:cs typeface="Arial" panose="020B0604020202020204" pitchFamily="34" charset="0"/>
              <a:sym typeface="Arial" panose="020B0604020202020204" pitchFamily="34" charset="0"/>
            </a:endParaRPr>
          </a:p>
        </p:txBody>
      </p:sp>
      <p:cxnSp>
        <p:nvCxnSpPr>
          <p:cNvPr id="7" name="Straight Connector 6"/>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4" name="Content Placeholder 8"/>
          <p:cNvSpPr txBox="1">
            <a:spLocks/>
          </p:cNvSpPr>
          <p:nvPr/>
        </p:nvSpPr>
        <p:spPr>
          <a:xfrm>
            <a:off x="547922" y="6418626"/>
            <a:ext cx="2383745"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sz="800" dirty="0">
                <a:solidFill>
                  <a:schemeClr val="tx2">
                    <a:lumMod val="40000"/>
                    <a:lumOff val="60000"/>
                  </a:schemeClr>
                </a:solidFill>
                <a:latin typeface="Arial" panose="020B0604020202020204" pitchFamily="34" charset="0"/>
                <a:cs typeface="Arial" panose="020B0604020202020204" pitchFamily="34" charset="0"/>
                <a:sym typeface="Arial" panose="020B0604020202020204" pitchFamily="34" charset="0"/>
              </a:rPr>
              <a:t>©2019</a:t>
            </a:r>
          </a:p>
        </p:txBody>
      </p:sp>
      <p:grpSp>
        <p:nvGrpSpPr>
          <p:cNvPr id="40" name="Group 39"/>
          <p:cNvGrpSpPr/>
          <p:nvPr/>
        </p:nvGrpSpPr>
        <p:grpSpPr>
          <a:xfrm>
            <a:off x="10579888" y="371026"/>
            <a:ext cx="1417689" cy="783522"/>
            <a:chOff x="10577133" y="371026"/>
            <a:chExt cx="1417320" cy="783522"/>
          </a:xfrm>
        </p:grpSpPr>
        <p:sp>
          <p:nvSpPr>
            <p:cNvPr id="25" name="TextBox 24"/>
            <p:cNvSpPr txBox="1">
              <a:spLocks/>
            </p:cNvSpPr>
            <p:nvPr/>
          </p:nvSpPr>
          <p:spPr>
            <a:xfrm>
              <a:off x="11006005" y="633221"/>
              <a:ext cx="224154"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6" name="TextBox 25"/>
            <p:cNvSpPr txBox="1">
              <a:spLocks/>
            </p:cNvSpPr>
            <p:nvPr/>
          </p:nvSpPr>
          <p:spPr>
            <a:xfrm>
              <a:off x="10825458" y="644149"/>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7" name="TextBox 26"/>
            <p:cNvSpPr txBox="1">
              <a:spLocks/>
            </p:cNvSpPr>
            <p:nvPr/>
          </p:nvSpPr>
          <p:spPr>
            <a:xfrm>
              <a:off x="11249402" y="691818"/>
              <a:ext cx="113009"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8" name="TextBox 27"/>
            <p:cNvSpPr txBox="1">
              <a:spLocks/>
            </p:cNvSpPr>
            <p:nvPr/>
          </p:nvSpPr>
          <p:spPr>
            <a:xfrm>
              <a:off x="11372247" y="691818"/>
              <a:ext cx="11603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9" name="TextBox 28"/>
            <p:cNvSpPr txBox="1">
              <a:spLocks/>
            </p:cNvSpPr>
            <p:nvPr/>
          </p:nvSpPr>
          <p:spPr>
            <a:xfrm>
              <a:off x="11173887" y="694143"/>
              <a:ext cx="64875"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0" name="TextBox 29"/>
            <p:cNvSpPr txBox="1">
              <a:spLocks/>
            </p:cNvSpPr>
            <p:nvPr/>
          </p:nvSpPr>
          <p:spPr>
            <a:xfrm>
              <a:off x="11295676" y="842826"/>
              <a:ext cx="149051"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1" name="TextBox 30"/>
            <p:cNvSpPr txBox="1">
              <a:spLocks/>
            </p:cNvSpPr>
            <p:nvPr/>
          </p:nvSpPr>
          <p:spPr>
            <a:xfrm>
              <a:off x="11637888" y="842826"/>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2" name="TextBox 31"/>
            <p:cNvSpPr txBox="1">
              <a:spLocks/>
            </p:cNvSpPr>
            <p:nvPr/>
          </p:nvSpPr>
          <p:spPr>
            <a:xfrm>
              <a:off x="11454751" y="843059"/>
              <a:ext cx="172072"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33" name="Group 32"/>
            <p:cNvGrpSpPr/>
            <p:nvPr/>
          </p:nvGrpSpPr>
          <p:grpSpPr>
            <a:xfrm>
              <a:off x="10999013" y="849614"/>
              <a:ext cx="276809" cy="61257"/>
              <a:chOff x="10999013" y="849614"/>
              <a:chExt cx="276809" cy="61257"/>
            </a:xfrm>
            <a:solidFill>
              <a:schemeClr val="accent3"/>
            </a:solidFill>
          </p:grpSpPr>
          <p:sp>
            <p:nvSpPr>
              <p:cNvPr id="34" name="TextBox 33"/>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5" name="TextBox 34"/>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6" name="TextBox 35"/>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7" name="TextBox 36"/>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8" name="TextBox 37"/>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39" name="Freeform 9"/>
            <p:cNvSpPr>
              <a:spLocks noEditPoints="1"/>
            </p:cNvSpPr>
            <p:nvPr/>
          </p:nvSpPr>
          <p:spPr bwMode="auto">
            <a:xfrm>
              <a:off x="10577133" y="371026"/>
              <a:ext cx="1417320"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p:spPr>
          <p:txBody>
            <a:bodyPr vert="horz" wrap="square" lIns="91440" tIns="45720" rIns="91440" bIns="45720" numCol="1" anchor="t" anchorCtr="0" compatLnSpc="1">
              <a:prstTxWarp prst="textNoShape">
                <a:avLst/>
              </a:prstTxWarp>
            </a:bodyPr>
            <a:lstStyle/>
            <a:p>
              <a:endParaRPr lang="en-US" sz="1800">
                <a:latin typeface="Arial" panose="020B0604020202020204" pitchFamily="34" charset="0"/>
                <a:cs typeface="Arial" panose="020B0604020202020204" pitchFamily="34" charset="0"/>
                <a:sym typeface="Arial" panose="020B0604020202020204" pitchFamily="34" charset="0"/>
              </a:endParaRPr>
            </a:p>
          </p:txBody>
        </p:sp>
      </p:grpSp>
      <p:sp>
        <p:nvSpPr>
          <p:cNvPr id="42"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Title</a:t>
            </a:r>
          </a:p>
        </p:txBody>
      </p:sp>
      <p:sp>
        <p:nvSpPr>
          <p:cNvPr id="43"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Subtitle</a:t>
            </a:r>
          </a:p>
        </p:txBody>
      </p:sp>
      <p:sp>
        <p:nvSpPr>
          <p:cNvPr id="41" name="Text Placeholder 4"/>
          <p:cNvSpPr>
            <a:spLocks noGrp="1"/>
          </p:cNvSpPr>
          <p:nvPr>
            <p:ph type="body" sz="quarter" idx="12" hasCustomPrompt="1"/>
          </p:nvPr>
        </p:nvSpPr>
        <p:spPr>
          <a:xfrm>
            <a:off x="4753301" y="2011681"/>
            <a:ext cx="6976736" cy="4174372"/>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en-US" dirty="0"/>
              <a:t>Body text</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lternate Internal Slide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8936012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9" name="think-cell Slide" r:id="rId4" imgW="498" imgH="499" progId="TCLayout.ActiveDocument.1">
                  <p:embed/>
                </p:oleObj>
              </mc:Choice>
              <mc:Fallback>
                <p:oleObj name="think-cell Slide" r:id="rId4" imgW="498" imgH="499"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4" name="Rectangle 23"/>
          <p:cNvSpPr/>
          <p:nvPr/>
        </p:nvSpPr>
        <p:spPr>
          <a:xfrm>
            <a:off x="0" y="1554481"/>
            <a:ext cx="2743915" cy="5319665"/>
          </a:xfrm>
          <a:prstGeom prst="rect">
            <a:avLst/>
          </a:prstGeom>
          <a:solidFill>
            <a:schemeClr val="bg2">
              <a:lumMod val="20000"/>
              <a:lumOff val="80000"/>
            </a:schemeClr>
          </a:solidFill>
          <a:ln>
            <a:noFill/>
          </a:ln>
        </p:spPr>
        <p:txBody>
          <a:bodyPr wrap="square" lIns="365760" tIns="91440" rIns="365760" bIns="182880" anchor="ctr">
            <a:noAutofit/>
          </a:bodyPr>
          <a:lstStyle/>
          <a:p>
            <a:endParaRPr lang="en-US" sz="7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 name="Rectangle 2"/>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4" name="Rectangle 3"/>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Arial" panose="020B0604020202020204" pitchFamily="34" charset="0"/>
              <a:cs typeface="Arial" panose="020B0604020202020204" pitchFamily="34" charset="0"/>
              <a:sym typeface="Arial" panose="020B0604020202020204" pitchFamily="34" charset="0"/>
            </a:endParaRPr>
          </a:p>
        </p:txBody>
      </p:sp>
      <p:cxnSp>
        <p:nvCxnSpPr>
          <p:cNvPr id="7" name="Straight Connector 6"/>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10579888" y="371026"/>
            <a:ext cx="1417689" cy="783522"/>
            <a:chOff x="10577133" y="371026"/>
            <a:chExt cx="1417320" cy="783522"/>
          </a:xfrm>
        </p:grpSpPr>
        <p:sp>
          <p:nvSpPr>
            <p:cNvPr id="26" name="TextBox 25"/>
            <p:cNvSpPr txBox="1">
              <a:spLocks/>
            </p:cNvSpPr>
            <p:nvPr/>
          </p:nvSpPr>
          <p:spPr>
            <a:xfrm>
              <a:off x="11006005" y="633221"/>
              <a:ext cx="224154"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7" name="TextBox 26"/>
            <p:cNvSpPr txBox="1">
              <a:spLocks/>
            </p:cNvSpPr>
            <p:nvPr/>
          </p:nvSpPr>
          <p:spPr>
            <a:xfrm>
              <a:off x="10825458" y="644149"/>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8" name="TextBox 27"/>
            <p:cNvSpPr txBox="1">
              <a:spLocks/>
            </p:cNvSpPr>
            <p:nvPr/>
          </p:nvSpPr>
          <p:spPr>
            <a:xfrm>
              <a:off x="11249402" y="691818"/>
              <a:ext cx="113009"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9" name="TextBox 28"/>
            <p:cNvSpPr txBox="1">
              <a:spLocks/>
            </p:cNvSpPr>
            <p:nvPr/>
          </p:nvSpPr>
          <p:spPr>
            <a:xfrm>
              <a:off x="11372247" y="691818"/>
              <a:ext cx="11603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0" name="TextBox 29"/>
            <p:cNvSpPr txBox="1">
              <a:spLocks/>
            </p:cNvSpPr>
            <p:nvPr/>
          </p:nvSpPr>
          <p:spPr>
            <a:xfrm>
              <a:off x="11173887" y="694143"/>
              <a:ext cx="64875"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1" name="TextBox 30"/>
            <p:cNvSpPr txBox="1">
              <a:spLocks/>
            </p:cNvSpPr>
            <p:nvPr/>
          </p:nvSpPr>
          <p:spPr>
            <a:xfrm>
              <a:off x="11295676" y="842826"/>
              <a:ext cx="149051"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2" name="TextBox 31"/>
            <p:cNvSpPr txBox="1">
              <a:spLocks/>
            </p:cNvSpPr>
            <p:nvPr/>
          </p:nvSpPr>
          <p:spPr>
            <a:xfrm>
              <a:off x="11637888" y="842826"/>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3" name="TextBox 32"/>
            <p:cNvSpPr txBox="1">
              <a:spLocks/>
            </p:cNvSpPr>
            <p:nvPr/>
          </p:nvSpPr>
          <p:spPr>
            <a:xfrm>
              <a:off x="11454751" y="843059"/>
              <a:ext cx="172072"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34" name="Group 33"/>
            <p:cNvGrpSpPr/>
            <p:nvPr/>
          </p:nvGrpSpPr>
          <p:grpSpPr>
            <a:xfrm>
              <a:off x="10999013" y="849614"/>
              <a:ext cx="276809" cy="61257"/>
              <a:chOff x="10999013" y="849614"/>
              <a:chExt cx="276809" cy="61257"/>
            </a:xfrm>
            <a:solidFill>
              <a:schemeClr val="accent3"/>
            </a:solidFill>
          </p:grpSpPr>
          <p:sp>
            <p:nvSpPr>
              <p:cNvPr id="35" name="TextBox 34"/>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6" name="TextBox 35"/>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7" name="TextBox 36"/>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8" name="TextBox 37"/>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9" name="TextBox 38"/>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40" name="Freeform 9"/>
            <p:cNvSpPr>
              <a:spLocks noEditPoints="1"/>
            </p:cNvSpPr>
            <p:nvPr/>
          </p:nvSpPr>
          <p:spPr bwMode="auto">
            <a:xfrm>
              <a:off x="10577133" y="371026"/>
              <a:ext cx="1417320"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p:spPr>
          <p:txBody>
            <a:bodyPr vert="horz" wrap="square" lIns="91440" tIns="45720" rIns="91440" bIns="45720" numCol="1" anchor="t" anchorCtr="0" compatLnSpc="1">
              <a:prstTxWarp prst="textNoShape">
                <a:avLst/>
              </a:prstTxWarp>
            </a:bodyPr>
            <a:lstStyle/>
            <a:p>
              <a:endParaRPr lang="en-US" sz="1800">
                <a:latin typeface="Arial" panose="020B0604020202020204" pitchFamily="34" charset="0"/>
                <a:cs typeface="Arial" panose="020B0604020202020204" pitchFamily="34" charset="0"/>
                <a:sym typeface="Arial" panose="020B0604020202020204" pitchFamily="34" charset="0"/>
              </a:endParaRPr>
            </a:p>
          </p:txBody>
        </p:sp>
      </p:grpSp>
      <p:sp>
        <p:nvSpPr>
          <p:cNvPr id="42"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Title</a:t>
            </a:r>
          </a:p>
        </p:txBody>
      </p:sp>
      <p:sp>
        <p:nvSpPr>
          <p:cNvPr id="43"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Subtitle</a:t>
            </a:r>
          </a:p>
        </p:txBody>
      </p:sp>
      <p:sp>
        <p:nvSpPr>
          <p:cNvPr id="41" name="Text Placeholder 4"/>
          <p:cNvSpPr>
            <a:spLocks noGrp="1"/>
          </p:cNvSpPr>
          <p:nvPr>
            <p:ph type="body" sz="quarter" idx="12" hasCustomPrompt="1"/>
          </p:nvPr>
        </p:nvSpPr>
        <p:spPr>
          <a:xfrm>
            <a:off x="3178629" y="2011681"/>
            <a:ext cx="8551409" cy="4174372"/>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en-US" dirty="0"/>
              <a:t>Body text</a:t>
            </a:r>
          </a:p>
        </p:txBody>
      </p:sp>
      <p:sp>
        <p:nvSpPr>
          <p:cNvPr id="44" name="Content Placeholder 8"/>
          <p:cNvSpPr txBox="1">
            <a:spLocks/>
          </p:cNvSpPr>
          <p:nvPr userDrawn="1"/>
        </p:nvSpPr>
        <p:spPr>
          <a:xfrm>
            <a:off x="547922" y="6418626"/>
            <a:ext cx="2383745"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sz="800" dirty="0">
                <a:solidFill>
                  <a:schemeClr val="tx2">
                    <a:lumMod val="40000"/>
                    <a:lumOff val="60000"/>
                  </a:schemeClr>
                </a:solidFill>
                <a:latin typeface="Arial" panose="020B0604020202020204" pitchFamily="34" charset="0"/>
                <a:cs typeface="Arial" panose="020B0604020202020204" pitchFamily="34" charset="0"/>
                <a:sym typeface="Arial" panose="020B0604020202020204" pitchFamily="34" charset="0"/>
              </a:rPr>
              <a:t>©2019</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ternal Slide - Photo Lef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273614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3" name="think-cell Slide" r:id="rId4" imgW="498" imgH="499" progId="TCLayout.ActiveDocument.1">
                  <p:embed/>
                </p:oleObj>
              </mc:Choice>
              <mc:Fallback>
                <p:oleObj name="think-cell Slide" r:id="rId4" imgW="498" imgH="499"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Picture Placeholder 5"/>
          <p:cNvSpPr>
            <a:spLocks noGrp="1"/>
          </p:cNvSpPr>
          <p:nvPr>
            <p:ph type="pic" sz="quarter" idx="13" hasCustomPrompt="1"/>
          </p:nvPr>
        </p:nvSpPr>
        <p:spPr>
          <a:xfrm>
            <a:off x="1" y="1554480"/>
            <a:ext cx="3291840" cy="5303519"/>
          </a:xfrm>
          <a:prstGeom prst="rect">
            <a:avLst/>
          </a:prstGeom>
          <a:solidFill>
            <a:schemeClr val="bg2"/>
          </a:solidFill>
        </p:spPr>
        <p:txBody>
          <a:bodyPr anchor="ctr"/>
          <a:lstStyle>
            <a:lvl1pPr algn="ctr">
              <a:defRPr sz="320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IMAGE</a:t>
            </a:r>
          </a:p>
        </p:txBody>
      </p:sp>
      <p:sp>
        <p:nvSpPr>
          <p:cNvPr id="55" name="Rectangle 54"/>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56" name="Rectangle 55"/>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Arial" panose="020B0604020202020204" pitchFamily="34" charset="0"/>
              <a:cs typeface="Arial" panose="020B0604020202020204" pitchFamily="34" charset="0"/>
              <a:sym typeface="Arial" panose="020B0604020202020204" pitchFamily="34" charset="0"/>
            </a:endParaRPr>
          </a:p>
        </p:txBody>
      </p:sp>
      <p:sp>
        <p:nvSpPr>
          <p:cNvPr id="57"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Title</a:t>
            </a:r>
          </a:p>
        </p:txBody>
      </p:sp>
      <p:sp>
        <p:nvSpPr>
          <p:cNvPr id="58"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Subtitle</a:t>
            </a:r>
          </a:p>
        </p:txBody>
      </p:sp>
      <p:cxnSp>
        <p:nvCxnSpPr>
          <p:cNvPr id="59" name="Straight Connector 58"/>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3" name="TextBox 62"/>
          <p:cNvSpPr txBox="1">
            <a:spLocks/>
          </p:cNvSpPr>
          <p:nvPr/>
        </p:nvSpPr>
        <p:spPr>
          <a:xfrm>
            <a:off x="11008872" y="633221"/>
            <a:ext cx="224212"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4" name="TextBox 63"/>
          <p:cNvSpPr txBox="1">
            <a:spLocks/>
          </p:cNvSpPr>
          <p:nvPr/>
        </p:nvSpPr>
        <p:spPr>
          <a:xfrm>
            <a:off x="10828278" y="644150"/>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5" name="TextBox 64"/>
          <p:cNvSpPr txBox="1">
            <a:spLocks/>
          </p:cNvSpPr>
          <p:nvPr/>
        </p:nvSpPr>
        <p:spPr>
          <a:xfrm>
            <a:off x="11252333" y="691818"/>
            <a:ext cx="113038"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6" name="TextBox 65"/>
          <p:cNvSpPr txBox="1">
            <a:spLocks/>
          </p:cNvSpPr>
          <p:nvPr/>
        </p:nvSpPr>
        <p:spPr>
          <a:xfrm>
            <a:off x="11375209" y="691818"/>
            <a:ext cx="11606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7" name="TextBox 66"/>
          <p:cNvSpPr txBox="1">
            <a:spLocks/>
          </p:cNvSpPr>
          <p:nvPr/>
        </p:nvSpPr>
        <p:spPr>
          <a:xfrm>
            <a:off x="11176798" y="694143"/>
            <a:ext cx="64892"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8" name="TextBox 67"/>
          <p:cNvSpPr txBox="1">
            <a:spLocks/>
          </p:cNvSpPr>
          <p:nvPr/>
        </p:nvSpPr>
        <p:spPr>
          <a:xfrm>
            <a:off x="11298619" y="842827"/>
            <a:ext cx="149090"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9" name="TextBox 68"/>
          <p:cNvSpPr txBox="1">
            <a:spLocks/>
          </p:cNvSpPr>
          <p:nvPr/>
        </p:nvSpPr>
        <p:spPr>
          <a:xfrm>
            <a:off x="11640919" y="842827"/>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0" name="TextBox 69"/>
          <p:cNvSpPr txBox="1">
            <a:spLocks/>
          </p:cNvSpPr>
          <p:nvPr/>
        </p:nvSpPr>
        <p:spPr>
          <a:xfrm>
            <a:off x="11457735" y="843060"/>
            <a:ext cx="172117"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2" name="Group 1"/>
          <p:cNvGrpSpPr/>
          <p:nvPr/>
        </p:nvGrpSpPr>
        <p:grpSpPr>
          <a:xfrm>
            <a:off x="11001879" y="849615"/>
            <a:ext cx="276881" cy="61257"/>
            <a:chOff x="10999013" y="849614"/>
            <a:chExt cx="276809" cy="61257"/>
          </a:xfrm>
          <a:solidFill>
            <a:schemeClr val="accent3"/>
          </a:solidFill>
        </p:grpSpPr>
        <p:sp>
          <p:nvSpPr>
            <p:cNvPr id="71" name="TextBox 70"/>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2" name="TextBox 71"/>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3" name="TextBox 72"/>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4" name="TextBox 73"/>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5" name="TextBox 74"/>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62" name="Freeform 9"/>
          <p:cNvSpPr>
            <a:spLocks noEditPoints="1"/>
          </p:cNvSpPr>
          <p:nvPr/>
        </p:nvSpPr>
        <p:spPr bwMode="auto">
          <a:xfrm>
            <a:off x="10579888" y="371026"/>
            <a:ext cx="1417689"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p:spPr>
        <p:txBody>
          <a:bodyPr vert="horz" wrap="square" lIns="91440" tIns="45720" rIns="91440" bIns="45720" numCol="1" anchor="t" anchorCtr="0" compatLnSpc="1">
            <a:prstTxWarp prst="textNoShape">
              <a:avLst/>
            </a:prstTxWarp>
          </a:bodyPr>
          <a:lstStyle/>
          <a:p>
            <a:endParaRPr lang="en-US" sz="1800">
              <a:latin typeface="Arial" panose="020B0604020202020204" pitchFamily="34" charset="0"/>
              <a:cs typeface="Arial" panose="020B0604020202020204" pitchFamily="34" charset="0"/>
              <a:sym typeface="Arial" panose="020B0604020202020204" pitchFamily="34" charset="0"/>
            </a:endParaRPr>
          </a:p>
        </p:txBody>
      </p:sp>
      <p:sp>
        <p:nvSpPr>
          <p:cNvPr id="23" name="Rectangle 22"/>
          <p:cNvSpPr/>
          <p:nvPr userDrawn="1"/>
        </p:nvSpPr>
        <p:spPr>
          <a:xfrm>
            <a:off x="3291840" y="1554479"/>
            <a:ext cx="91440" cy="530352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Arial" panose="020B0604020202020204" pitchFamily="34" charset="0"/>
              <a:cs typeface="Arial" panose="020B0604020202020204" pitchFamily="34" charset="0"/>
              <a:sym typeface="Arial" panose="020B0604020202020204" pitchFamily="34" charset="0"/>
            </a:endParaRPr>
          </a:p>
        </p:txBody>
      </p:sp>
      <p:sp>
        <p:nvSpPr>
          <p:cNvPr id="24" name="Text Placeholder 4"/>
          <p:cNvSpPr>
            <a:spLocks noGrp="1"/>
          </p:cNvSpPr>
          <p:nvPr>
            <p:ph type="body" sz="quarter" idx="12" hasCustomPrompt="1"/>
          </p:nvPr>
        </p:nvSpPr>
        <p:spPr>
          <a:xfrm>
            <a:off x="3838902" y="2011681"/>
            <a:ext cx="7891135" cy="4174372"/>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en-US" dirty="0"/>
              <a:t>Body text</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ternal Slide - Photo Left Lar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725909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7" name="think-cell Slide" r:id="rId4" imgW="498" imgH="499" progId="TCLayout.ActiveDocument.1">
                  <p:embed/>
                </p:oleObj>
              </mc:Choice>
              <mc:Fallback>
                <p:oleObj name="think-cell Slide" r:id="rId4" imgW="498" imgH="499"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Picture Placeholder 5"/>
          <p:cNvSpPr>
            <a:spLocks noGrp="1"/>
          </p:cNvSpPr>
          <p:nvPr>
            <p:ph type="pic" sz="quarter" idx="13" hasCustomPrompt="1"/>
          </p:nvPr>
        </p:nvSpPr>
        <p:spPr>
          <a:xfrm>
            <a:off x="-2" y="1554481"/>
            <a:ext cx="3840480" cy="5303519"/>
          </a:xfrm>
          <a:prstGeom prst="rect">
            <a:avLst/>
          </a:prstGeom>
          <a:solidFill>
            <a:schemeClr val="bg2"/>
          </a:solidFill>
        </p:spPr>
        <p:txBody>
          <a:bodyPr anchor="ctr"/>
          <a:lstStyle>
            <a:lvl1pPr algn="ctr">
              <a:defRPr sz="320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IMAGE</a:t>
            </a:r>
          </a:p>
        </p:txBody>
      </p:sp>
      <p:sp>
        <p:nvSpPr>
          <p:cNvPr id="55" name="Rectangle 54"/>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56" name="Rectangle 55"/>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Arial" panose="020B0604020202020204" pitchFamily="34" charset="0"/>
              <a:cs typeface="Arial" panose="020B0604020202020204" pitchFamily="34" charset="0"/>
              <a:sym typeface="Arial" panose="020B0604020202020204" pitchFamily="34" charset="0"/>
            </a:endParaRPr>
          </a:p>
        </p:txBody>
      </p:sp>
      <p:sp>
        <p:nvSpPr>
          <p:cNvPr id="57"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Title</a:t>
            </a:r>
          </a:p>
        </p:txBody>
      </p:sp>
      <p:sp>
        <p:nvSpPr>
          <p:cNvPr id="58"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Subtitle</a:t>
            </a:r>
          </a:p>
        </p:txBody>
      </p:sp>
      <p:cxnSp>
        <p:nvCxnSpPr>
          <p:cNvPr id="59" name="Straight Connector 58"/>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3" name="TextBox 62"/>
          <p:cNvSpPr txBox="1">
            <a:spLocks/>
          </p:cNvSpPr>
          <p:nvPr/>
        </p:nvSpPr>
        <p:spPr>
          <a:xfrm>
            <a:off x="11008872" y="633221"/>
            <a:ext cx="224212"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4" name="TextBox 63"/>
          <p:cNvSpPr txBox="1">
            <a:spLocks/>
          </p:cNvSpPr>
          <p:nvPr/>
        </p:nvSpPr>
        <p:spPr>
          <a:xfrm>
            <a:off x="10828278" y="644150"/>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5" name="TextBox 64"/>
          <p:cNvSpPr txBox="1">
            <a:spLocks/>
          </p:cNvSpPr>
          <p:nvPr/>
        </p:nvSpPr>
        <p:spPr>
          <a:xfrm>
            <a:off x="11252333" y="691818"/>
            <a:ext cx="113038"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6" name="TextBox 65"/>
          <p:cNvSpPr txBox="1">
            <a:spLocks/>
          </p:cNvSpPr>
          <p:nvPr/>
        </p:nvSpPr>
        <p:spPr>
          <a:xfrm>
            <a:off x="11375209" y="691818"/>
            <a:ext cx="11606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7" name="TextBox 66"/>
          <p:cNvSpPr txBox="1">
            <a:spLocks/>
          </p:cNvSpPr>
          <p:nvPr/>
        </p:nvSpPr>
        <p:spPr>
          <a:xfrm>
            <a:off x="11176798" y="694143"/>
            <a:ext cx="64892"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8" name="TextBox 67"/>
          <p:cNvSpPr txBox="1">
            <a:spLocks/>
          </p:cNvSpPr>
          <p:nvPr/>
        </p:nvSpPr>
        <p:spPr>
          <a:xfrm>
            <a:off x="11298619" y="842827"/>
            <a:ext cx="149090"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9" name="TextBox 68"/>
          <p:cNvSpPr txBox="1">
            <a:spLocks/>
          </p:cNvSpPr>
          <p:nvPr/>
        </p:nvSpPr>
        <p:spPr>
          <a:xfrm>
            <a:off x="11640919" y="842827"/>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0" name="TextBox 69"/>
          <p:cNvSpPr txBox="1">
            <a:spLocks/>
          </p:cNvSpPr>
          <p:nvPr/>
        </p:nvSpPr>
        <p:spPr>
          <a:xfrm>
            <a:off x="11457735" y="843060"/>
            <a:ext cx="172117"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2" name="Group 1"/>
          <p:cNvGrpSpPr/>
          <p:nvPr/>
        </p:nvGrpSpPr>
        <p:grpSpPr>
          <a:xfrm>
            <a:off x="11001879" y="849615"/>
            <a:ext cx="276881" cy="61257"/>
            <a:chOff x="10999013" y="849614"/>
            <a:chExt cx="276809" cy="61257"/>
          </a:xfrm>
          <a:solidFill>
            <a:schemeClr val="accent3"/>
          </a:solidFill>
        </p:grpSpPr>
        <p:sp>
          <p:nvSpPr>
            <p:cNvPr id="71" name="TextBox 70"/>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2" name="TextBox 71"/>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3" name="TextBox 72"/>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4" name="TextBox 73"/>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5" name="TextBox 74"/>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62" name="Freeform 9"/>
          <p:cNvSpPr>
            <a:spLocks noEditPoints="1"/>
          </p:cNvSpPr>
          <p:nvPr/>
        </p:nvSpPr>
        <p:spPr bwMode="auto">
          <a:xfrm>
            <a:off x="10579888" y="371026"/>
            <a:ext cx="1417689"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p:spPr>
        <p:txBody>
          <a:bodyPr vert="horz" wrap="square" lIns="91440" tIns="45720" rIns="91440" bIns="45720" numCol="1" anchor="t" anchorCtr="0" compatLnSpc="1">
            <a:prstTxWarp prst="textNoShape">
              <a:avLst/>
            </a:prstTxWarp>
          </a:bodyPr>
          <a:lstStyle/>
          <a:p>
            <a:endParaRPr lang="en-US" sz="1800">
              <a:latin typeface="Arial" panose="020B0604020202020204" pitchFamily="34" charset="0"/>
              <a:cs typeface="Arial" panose="020B0604020202020204" pitchFamily="34" charset="0"/>
              <a:sym typeface="Arial" panose="020B0604020202020204" pitchFamily="34" charset="0"/>
            </a:endParaRPr>
          </a:p>
        </p:txBody>
      </p:sp>
      <p:sp>
        <p:nvSpPr>
          <p:cNvPr id="23" name="Rectangle 22"/>
          <p:cNvSpPr/>
          <p:nvPr userDrawn="1"/>
        </p:nvSpPr>
        <p:spPr>
          <a:xfrm>
            <a:off x="3840478" y="1554232"/>
            <a:ext cx="91440" cy="530352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Arial" panose="020B0604020202020204" pitchFamily="34" charset="0"/>
              <a:cs typeface="Arial" panose="020B0604020202020204" pitchFamily="34" charset="0"/>
              <a:sym typeface="Arial" panose="020B0604020202020204" pitchFamily="34" charset="0"/>
            </a:endParaRPr>
          </a:p>
        </p:txBody>
      </p:sp>
      <p:sp>
        <p:nvSpPr>
          <p:cNvPr id="24" name="Text Placeholder 4"/>
          <p:cNvSpPr>
            <a:spLocks noGrp="1"/>
          </p:cNvSpPr>
          <p:nvPr>
            <p:ph type="body" sz="quarter" idx="12" hasCustomPrompt="1"/>
          </p:nvPr>
        </p:nvSpPr>
        <p:spPr>
          <a:xfrm>
            <a:off x="4387540" y="2011680"/>
            <a:ext cx="7342497" cy="4162001"/>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en-US" dirty="0"/>
              <a:t>Body text</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Internal Slide - Photo Lef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389279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1" name="think-cell Slide" r:id="rId4" imgW="498" imgH="499" progId="TCLayout.ActiveDocument.1">
                  <p:embed/>
                </p:oleObj>
              </mc:Choice>
              <mc:Fallback>
                <p:oleObj name="think-cell Slide" r:id="rId4" imgW="498" imgH="499"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Picture Placeholder 5"/>
          <p:cNvSpPr>
            <a:spLocks noGrp="1"/>
          </p:cNvSpPr>
          <p:nvPr>
            <p:ph type="pic" sz="quarter" idx="13" hasCustomPrompt="1"/>
          </p:nvPr>
        </p:nvSpPr>
        <p:spPr>
          <a:xfrm>
            <a:off x="8900160" y="1554480"/>
            <a:ext cx="3291840" cy="5303519"/>
          </a:xfrm>
          <a:prstGeom prst="rect">
            <a:avLst/>
          </a:prstGeom>
          <a:solidFill>
            <a:schemeClr val="bg2"/>
          </a:solidFill>
        </p:spPr>
        <p:txBody>
          <a:bodyPr anchor="ctr"/>
          <a:lstStyle>
            <a:lvl1pPr algn="ctr">
              <a:defRPr sz="320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IMAGE</a:t>
            </a:r>
          </a:p>
        </p:txBody>
      </p:sp>
      <p:sp>
        <p:nvSpPr>
          <p:cNvPr id="55" name="Rectangle 54"/>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56" name="Rectangle 55"/>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Arial" panose="020B0604020202020204" pitchFamily="34" charset="0"/>
              <a:cs typeface="Arial" panose="020B0604020202020204" pitchFamily="34" charset="0"/>
              <a:sym typeface="Arial" panose="020B0604020202020204" pitchFamily="34" charset="0"/>
            </a:endParaRPr>
          </a:p>
        </p:txBody>
      </p:sp>
      <p:sp>
        <p:nvSpPr>
          <p:cNvPr id="57"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Title</a:t>
            </a:r>
          </a:p>
        </p:txBody>
      </p:sp>
      <p:sp>
        <p:nvSpPr>
          <p:cNvPr id="58"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Subtitle</a:t>
            </a:r>
          </a:p>
        </p:txBody>
      </p:sp>
      <p:cxnSp>
        <p:nvCxnSpPr>
          <p:cNvPr id="59" name="Straight Connector 58"/>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3" name="TextBox 62"/>
          <p:cNvSpPr txBox="1">
            <a:spLocks/>
          </p:cNvSpPr>
          <p:nvPr/>
        </p:nvSpPr>
        <p:spPr>
          <a:xfrm>
            <a:off x="11008872" y="633221"/>
            <a:ext cx="224212"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4" name="TextBox 63"/>
          <p:cNvSpPr txBox="1">
            <a:spLocks/>
          </p:cNvSpPr>
          <p:nvPr/>
        </p:nvSpPr>
        <p:spPr>
          <a:xfrm>
            <a:off x="10828278" y="644150"/>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5" name="TextBox 64"/>
          <p:cNvSpPr txBox="1">
            <a:spLocks/>
          </p:cNvSpPr>
          <p:nvPr/>
        </p:nvSpPr>
        <p:spPr>
          <a:xfrm>
            <a:off x="11252333" y="691818"/>
            <a:ext cx="113038"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6" name="TextBox 65"/>
          <p:cNvSpPr txBox="1">
            <a:spLocks/>
          </p:cNvSpPr>
          <p:nvPr/>
        </p:nvSpPr>
        <p:spPr>
          <a:xfrm>
            <a:off x="11375209" y="691818"/>
            <a:ext cx="11606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7" name="TextBox 66"/>
          <p:cNvSpPr txBox="1">
            <a:spLocks/>
          </p:cNvSpPr>
          <p:nvPr/>
        </p:nvSpPr>
        <p:spPr>
          <a:xfrm>
            <a:off x="11176798" y="694143"/>
            <a:ext cx="64892"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8" name="TextBox 67"/>
          <p:cNvSpPr txBox="1">
            <a:spLocks/>
          </p:cNvSpPr>
          <p:nvPr/>
        </p:nvSpPr>
        <p:spPr>
          <a:xfrm>
            <a:off x="11298619" y="842827"/>
            <a:ext cx="149090"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9" name="TextBox 68"/>
          <p:cNvSpPr txBox="1">
            <a:spLocks/>
          </p:cNvSpPr>
          <p:nvPr/>
        </p:nvSpPr>
        <p:spPr>
          <a:xfrm>
            <a:off x="11640919" y="842827"/>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0" name="TextBox 69"/>
          <p:cNvSpPr txBox="1">
            <a:spLocks/>
          </p:cNvSpPr>
          <p:nvPr/>
        </p:nvSpPr>
        <p:spPr>
          <a:xfrm>
            <a:off x="11457735" y="843060"/>
            <a:ext cx="172117"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2" name="Group 1"/>
          <p:cNvGrpSpPr/>
          <p:nvPr/>
        </p:nvGrpSpPr>
        <p:grpSpPr>
          <a:xfrm>
            <a:off x="11001879" y="849615"/>
            <a:ext cx="276881" cy="61257"/>
            <a:chOff x="10999013" y="849614"/>
            <a:chExt cx="276809" cy="61257"/>
          </a:xfrm>
          <a:solidFill>
            <a:schemeClr val="accent3"/>
          </a:solidFill>
        </p:grpSpPr>
        <p:sp>
          <p:nvSpPr>
            <p:cNvPr id="71" name="TextBox 70"/>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2" name="TextBox 71"/>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3" name="TextBox 72"/>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4" name="TextBox 73"/>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5" name="TextBox 74"/>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62" name="Freeform 9"/>
          <p:cNvSpPr>
            <a:spLocks noEditPoints="1"/>
          </p:cNvSpPr>
          <p:nvPr/>
        </p:nvSpPr>
        <p:spPr bwMode="auto">
          <a:xfrm>
            <a:off x="10579888" y="371026"/>
            <a:ext cx="1417689"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p:spPr>
        <p:txBody>
          <a:bodyPr vert="horz" wrap="square" lIns="91440" tIns="45720" rIns="91440" bIns="45720" numCol="1" anchor="t" anchorCtr="0" compatLnSpc="1">
            <a:prstTxWarp prst="textNoShape">
              <a:avLst/>
            </a:prstTxWarp>
          </a:bodyPr>
          <a:lstStyle/>
          <a:p>
            <a:endParaRPr lang="en-US" sz="1800">
              <a:latin typeface="Arial" panose="020B0604020202020204" pitchFamily="34" charset="0"/>
              <a:cs typeface="Arial" panose="020B0604020202020204" pitchFamily="34" charset="0"/>
              <a:sym typeface="Arial" panose="020B0604020202020204" pitchFamily="34" charset="0"/>
            </a:endParaRPr>
          </a:p>
        </p:txBody>
      </p:sp>
      <p:sp>
        <p:nvSpPr>
          <p:cNvPr id="24" name="Content Placeholder 8"/>
          <p:cNvSpPr txBox="1">
            <a:spLocks/>
          </p:cNvSpPr>
          <p:nvPr userDrawn="1"/>
        </p:nvSpPr>
        <p:spPr>
          <a:xfrm>
            <a:off x="11104408" y="6418626"/>
            <a:ext cx="734493" cy="228600"/>
          </a:xfrm>
          <a:prstGeom prst="rect">
            <a:avLst/>
          </a:prstGeom>
        </p:spPr>
        <p:txBody>
          <a:bodyPr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000" dirty="0">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rPr>
              <a:t> </a:t>
            </a:r>
            <a:fld id="{38743595-4496-5147-A886-7D133864DF76}" type="slidenum">
              <a:rPr lang="en-US" sz="1000" smtClean="0">
                <a:solidFill>
                  <a:srgbClr val="3F3F3F"/>
                </a:solidFill>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rPr>
              <a:pPr algn="r"/>
              <a:t>‹#›</a:t>
            </a:fld>
            <a:endParaRPr lang="en-US" sz="1000" dirty="0">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endParaRPr>
          </a:p>
        </p:txBody>
      </p:sp>
      <p:sp>
        <p:nvSpPr>
          <p:cNvPr id="25" name="MSIPCMContentMarking" descr="{&quot;HashCode&quot;:-356254672,&quot;Placement&quot;:&quot;Footer&quot;}">
            <a:extLst>
              <a:ext uri="{FF2B5EF4-FFF2-40B4-BE49-F238E27FC236}">
                <a16:creationId xmlns:a16="http://schemas.microsoft.com/office/drawing/2014/main" id="{B869DC3D-CEDB-48B8-8C95-B8965AA1143A}"/>
              </a:ext>
            </a:extLst>
          </p:cNvPr>
          <p:cNvSpPr txBox="1"/>
          <p:nvPr userDrawn="1"/>
        </p:nvSpPr>
        <p:spPr>
          <a:xfrm>
            <a:off x="10717460" y="6413372"/>
            <a:ext cx="709344" cy="228163"/>
          </a:xfrm>
          <a:prstGeom prst="rect">
            <a:avLst/>
          </a:prstGeom>
          <a:noFill/>
        </p:spPr>
        <p:txBody>
          <a:bodyPr vert="horz" wrap="square" lIns="0" tIns="0" rIns="0" bIns="0" rtlCol="0" anchor="ctr" anchorCtr="1">
            <a:noAutofit/>
          </a:bodyPr>
          <a:lstStyle/>
          <a:p>
            <a:pPr algn="l" defTabSz="456758" fontAlgn="base">
              <a:spcBef>
                <a:spcPts val="0"/>
              </a:spcBef>
              <a:spcAft>
                <a:spcPts val="0"/>
              </a:spcAft>
            </a:pPr>
            <a:r>
              <a:rPr lang="en-US" sz="800">
                <a:solidFill>
                  <a:srgbClr val="414141"/>
                </a:solidFill>
                <a:latin typeface="Arial" panose="020B0604020202020204" pitchFamily="34" charset="0"/>
                <a:cs typeface="Arial" panose="020B0604020202020204" pitchFamily="34" charset="0"/>
                <a:sym typeface="Arial" panose="020B0604020202020204" pitchFamily="34" charset="0"/>
              </a:rPr>
              <a:t>Proprietary</a:t>
            </a:r>
            <a:endParaRPr lang="en-US" sz="800" dirty="0" err="1">
              <a:solidFill>
                <a:srgbClr val="414141"/>
              </a:solidFill>
              <a:latin typeface="Arial" panose="020B0604020202020204" pitchFamily="34" charset="0"/>
              <a:cs typeface="Arial" panose="020B0604020202020204" pitchFamily="34" charset="0"/>
              <a:sym typeface="Arial" panose="020B0604020202020204" pitchFamily="34" charset="0"/>
            </a:endParaRPr>
          </a:p>
        </p:txBody>
      </p:sp>
      <p:sp>
        <p:nvSpPr>
          <p:cNvPr id="26" name="Rectangle 25"/>
          <p:cNvSpPr/>
          <p:nvPr userDrawn="1"/>
        </p:nvSpPr>
        <p:spPr>
          <a:xfrm>
            <a:off x="8808590" y="1554232"/>
            <a:ext cx="91440" cy="530352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Arial" panose="020B0604020202020204" pitchFamily="34" charset="0"/>
              <a:cs typeface="Arial" panose="020B0604020202020204" pitchFamily="34" charset="0"/>
              <a:sym typeface="Arial" panose="020B0604020202020204" pitchFamily="34" charset="0"/>
            </a:endParaRPr>
          </a:p>
        </p:txBody>
      </p:sp>
      <p:sp>
        <p:nvSpPr>
          <p:cNvPr id="27" name="Text Placeholder 4"/>
          <p:cNvSpPr>
            <a:spLocks noGrp="1"/>
          </p:cNvSpPr>
          <p:nvPr>
            <p:ph type="body" sz="quarter" idx="12" hasCustomPrompt="1"/>
          </p:nvPr>
        </p:nvSpPr>
        <p:spPr>
          <a:xfrm>
            <a:off x="457200" y="2011432"/>
            <a:ext cx="7937863" cy="4162249"/>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en-US" dirty="0"/>
              <a:t>Body text</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Content Placeholder 8"/>
          <p:cNvSpPr txBox="1">
            <a:spLocks/>
          </p:cNvSpPr>
          <p:nvPr/>
        </p:nvSpPr>
        <p:spPr>
          <a:xfrm>
            <a:off x="11104408" y="6418626"/>
            <a:ext cx="734493" cy="228600"/>
          </a:xfrm>
          <a:prstGeom prst="rect">
            <a:avLst/>
          </a:prstGeom>
        </p:spPr>
        <p:txBody>
          <a:bodyPr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000" dirty="0">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rPr>
              <a:t> </a:t>
            </a:r>
            <a:fld id="{38743595-4496-5147-A886-7D133864DF76}" type="slidenum">
              <a:rPr lang="en-US" sz="1000" smtClean="0">
                <a:solidFill>
                  <a:srgbClr val="3F3F3F"/>
                </a:solidFill>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rPr>
              <a:pPr algn="r"/>
              <a:t>‹#›</a:t>
            </a:fld>
            <a:endParaRPr lang="en-US" sz="1000" dirty="0">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endParaRPr>
          </a:p>
        </p:txBody>
      </p:sp>
      <p:graphicFrame>
        <p:nvGraphicFramePr>
          <p:cNvPr id="11" name="Object 10" hidden="1"/>
          <p:cNvGraphicFramePr>
            <a:graphicFrameLocks noChangeAspect="1"/>
          </p:cNvGraphicFramePr>
          <p:nvPr>
            <p:custDataLst>
              <p:tags r:id="rId18"/>
            </p:custDataLst>
            <p:extLst>
              <p:ext uri="{D42A27DB-BD31-4B8C-83A1-F6EECF244321}">
                <p14:modId xmlns:p14="http://schemas.microsoft.com/office/powerpoint/2010/main" val="68461690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5" name="think-cell Slide" r:id="rId19" imgW="471" imgH="470" progId="TCLayout.ActiveDocument.1">
                  <p:embed/>
                </p:oleObj>
              </mc:Choice>
              <mc:Fallback>
                <p:oleObj name="think-cell Slide" r:id="rId19" imgW="471" imgH="470" progId="TCLayout.ActiveDocument.1">
                  <p:embed/>
                  <p:pic>
                    <p:nvPicPr>
                      <p:cNvPr id="11" name="Object 10" hidden="1"/>
                      <p:cNvPicPr/>
                      <p:nvPr/>
                    </p:nvPicPr>
                    <p:blipFill>
                      <a:blip r:embed="rId20"/>
                      <a:stretch>
                        <a:fillRect/>
                      </a:stretch>
                    </p:blipFill>
                    <p:spPr>
                      <a:xfrm>
                        <a:off x="1589" y="1589"/>
                        <a:ext cx="1587" cy="1587"/>
                      </a:xfrm>
                      <a:prstGeom prst="rect">
                        <a:avLst/>
                      </a:prstGeom>
                    </p:spPr>
                  </p:pic>
                </p:oleObj>
              </mc:Fallback>
            </mc:AlternateContent>
          </a:graphicData>
        </a:graphic>
      </p:graphicFrame>
      <p:sp>
        <p:nvSpPr>
          <p:cNvPr id="12" name="MSIPCMContentMarking" descr="{&quot;HashCode&quot;:-356254672,&quot;Placement&quot;:&quot;Footer&quot;}">
            <a:extLst>
              <a:ext uri="{FF2B5EF4-FFF2-40B4-BE49-F238E27FC236}">
                <a16:creationId xmlns:a16="http://schemas.microsoft.com/office/drawing/2014/main" id="{B869DC3D-CEDB-48B8-8C95-B8965AA1143A}"/>
              </a:ext>
            </a:extLst>
          </p:cNvPr>
          <p:cNvSpPr txBox="1"/>
          <p:nvPr/>
        </p:nvSpPr>
        <p:spPr>
          <a:xfrm>
            <a:off x="10717460" y="6413372"/>
            <a:ext cx="709344" cy="228163"/>
          </a:xfrm>
          <a:prstGeom prst="rect">
            <a:avLst/>
          </a:prstGeom>
          <a:noFill/>
        </p:spPr>
        <p:txBody>
          <a:bodyPr vert="horz" wrap="square" lIns="0" tIns="0" rIns="0" bIns="0" rtlCol="0" anchor="ctr" anchorCtr="1">
            <a:noAutofit/>
          </a:bodyPr>
          <a:lstStyle/>
          <a:p>
            <a:pPr algn="l" defTabSz="456758" fontAlgn="base">
              <a:spcBef>
                <a:spcPts val="0"/>
              </a:spcBef>
              <a:spcAft>
                <a:spcPts val="0"/>
              </a:spcAft>
            </a:pPr>
            <a:r>
              <a:rPr lang="en-US" sz="800" dirty="0">
                <a:solidFill>
                  <a:srgbClr val="414141"/>
                </a:solidFill>
                <a:latin typeface="Arial" panose="020B0604020202020204" pitchFamily="34" charset="0"/>
                <a:cs typeface="Arial" panose="020B0604020202020204" pitchFamily="34" charset="0"/>
                <a:sym typeface="Arial" panose="020B0604020202020204" pitchFamily="34" charset="0"/>
              </a:rPr>
              <a:t>Proprietary</a:t>
            </a:r>
          </a:p>
        </p:txBody>
      </p:sp>
      <p:sp>
        <p:nvSpPr>
          <p:cNvPr id="9" name="Content Placeholder 8"/>
          <p:cNvSpPr txBox="1">
            <a:spLocks/>
          </p:cNvSpPr>
          <p:nvPr userDrawn="1"/>
        </p:nvSpPr>
        <p:spPr>
          <a:xfrm>
            <a:off x="547922" y="6418626"/>
            <a:ext cx="2383745"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sz="800" dirty="0">
                <a:solidFill>
                  <a:schemeClr val="bg2"/>
                </a:solidFill>
                <a:latin typeface="Arial" panose="020B0604020202020204" pitchFamily="34" charset="0"/>
                <a:cs typeface="Arial" panose="020B0604020202020204" pitchFamily="34" charset="0"/>
                <a:sym typeface="Arial" panose="020B0604020202020204" pitchFamily="34" charset="0"/>
              </a:rPr>
              <a:t>©2019</a:t>
            </a:r>
          </a:p>
        </p:txBody>
      </p:sp>
      <p:grpSp>
        <p:nvGrpSpPr>
          <p:cNvPr id="13" name="Group 12">
            <a:extLst>
              <a:ext uri="{FF2B5EF4-FFF2-40B4-BE49-F238E27FC236}">
                <a16:creationId xmlns:a16="http://schemas.microsoft.com/office/drawing/2014/main" id="{970D1A23-D88D-46C3-95E5-B10C224E1CC3}"/>
              </a:ext>
            </a:extLst>
          </p:cNvPr>
          <p:cNvGrpSpPr>
            <a:grpSpLocks noChangeAspect="1"/>
          </p:cNvGrpSpPr>
          <p:nvPr userDrawn="1"/>
        </p:nvGrpSpPr>
        <p:grpSpPr>
          <a:xfrm>
            <a:off x="5618496" y="6443197"/>
            <a:ext cx="955009" cy="127570"/>
            <a:chOff x="279400" y="2781300"/>
            <a:chExt cx="8585200" cy="1092200"/>
          </a:xfrm>
        </p:grpSpPr>
        <p:sp>
          <p:nvSpPr>
            <p:cNvPr id="14" name="Freeform 5">
              <a:extLst>
                <a:ext uri="{FF2B5EF4-FFF2-40B4-BE49-F238E27FC236}">
                  <a16:creationId xmlns:a16="http://schemas.microsoft.com/office/drawing/2014/main" id="{7365CECB-7D2B-4CF7-BFD3-6752DEC67F25}"/>
                </a:ext>
              </a:extLst>
            </p:cNvPr>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7" name="Freeform 6">
              <a:extLst>
                <a:ext uri="{FF2B5EF4-FFF2-40B4-BE49-F238E27FC236}">
                  <a16:creationId xmlns:a16="http://schemas.microsoft.com/office/drawing/2014/main" id="{7111873F-5B39-42DE-99F1-E7FC74583C0C}"/>
                </a:ext>
              </a:extLst>
            </p:cNvPr>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8" name="Freeform 7">
              <a:extLst>
                <a:ext uri="{FF2B5EF4-FFF2-40B4-BE49-F238E27FC236}">
                  <a16:creationId xmlns:a16="http://schemas.microsoft.com/office/drawing/2014/main" id="{3CB93BBE-80DA-457D-B72D-9C9C5E5B8688}"/>
                </a:ext>
              </a:extLst>
            </p:cNvPr>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9" name="Freeform 8">
              <a:extLst>
                <a:ext uri="{FF2B5EF4-FFF2-40B4-BE49-F238E27FC236}">
                  <a16:creationId xmlns:a16="http://schemas.microsoft.com/office/drawing/2014/main" id="{0D49BCB4-A340-471B-971A-24BD033C7F38}"/>
                </a:ext>
              </a:extLst>
            </p:cNvPr>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0" name="Freeform 9">
              <a:extLst>
                <a:ext uri="{FF2B5EF4-FFF2-40B4-BE49-F238E27FC236}">
                  <a16:creationId xmlns:a16="http://schemas.microsoft.com/office/drawing/2014/main" id="{0C4938EB-CD7A-497C-9BA4-5CD6B3F08D8E}"/>
                </a:ext>
              </a:extLst>
            </p:cNvPr>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1" name="Freeform 10">
              <a:extLst>
                <a:ext uri="{FF2B5EF4-FFF2-40B4-BE49-F238E27FC236}">
                  <a16:creationId xmlns:a16="http://schemas.microsoft.com/office/drawing/2014/main" id="{38FB080F-C58C-4388-AF4B-47AA97CFE9F5}"/>
                </a:ext>
              </a:extLst>
            </p:cNvPr>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2" name="Freeform 11">
              <a:extLst>
                <a:ext uri="{FF2B5EF4-FFF2-40B4-BE49-F238E27FC236}">
                  <a16:creationId xmlns:a16="http://schemas.microsoft.com/office/drawing/2014/main" id="{BAF44958-70BD-4D20-94BC-622DD0D8A8D3}"/>
                </a:ext>
              </a:extLst>
            </p:cNvPr>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3" name="Freeform 12">
              <a:extLst>
                <a:ext uri="{FF2B5EF4-FFF2-40B4-BE49-F238E27FC236}">
                  <a16:creationId xmlns:a16="http://schemas.microsoft.com/office/drawing/2014/main" id="{6178D6E0-263D-45AD-BE10-D95989C192BE}"/>
                </a:ext>
              </a:extLst>
            </p:cNvPr>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4" name="Freeform 13">
              <a:extLst>
                <a:ext uri="{FF2B5EF4-FFF2-40B4-BE49-F238E27FC236}">
                  <a16:creationId xmlns:a16="http://schemas.microsoft.com/office/drawing/2014/main" id="{5E418160-22DA-431A-9B45-BDEDF2B7B5AF}"/>
                </a:ext>
              </a:extLst>
            </p:cNvPr>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5" name="Freeform 14">
              <a:extLst>
                <a:ext uri="{FF2B5EF4-FFF2-40B4-BE49-F238E27FC236}">
                  <a16:creationId xmlns:a16="http://schemas.microsoft.com/office/drawing/2014/main" id="{91A4F274-1376-4B3F-9106-428B3F243841}"/>
                </a:ext>
              </a:extLst>
            </p:cNvPr>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spTree>
    <p:extLst>
      <p:ext uri="{BB962C8B-B14F-4D97-AF65-F5344CB8AC3E}">
        <p14:creationId xmlns:p14="http://schemas.microsoft.com/office/powerpoint/2010/main" val="807305569"/>
      </p:ext>
    </p:extLst>
  </p:cSld>
  <p:clrMap bg1="lt1" tx1="dk1" bg2="lt2" tx2="dk2" accent1="accent1" accent2="accent2" accent3="accent3" accent4="accent4" accent5="accent5" accent6="accent6" hlink="hlink" folHlink="folHlink"/>
  <p:sldLayoutIdLst>
    <p:sldLayoutId id="2147483773" r:id="rId1"/>
    <p:sldLayoutId id="2147483815" r:id="rId2"/>
    <p:sldLayoutId id="2147483804" r:id="rId3"/>
    <p:sldLayoutId id="2147483775" r:id="rId4"/>
    <p:sldLayoutId id="2147483776" r:id="rId5"/>
    <p:sldLayoutId id="2147483777" r:id="rId6"/>
    <p:sldLayoutId id="2147483805" r:id="rId7"/>
    <p:sldLayoutId id="2147483806" r:id="rId8"/>
    <p:sldLayoutId id="2147483808" r:id="rId9"/>
    <p:sldLayoutId id="2147483807" r:id="rId10"/>
    <p:sldLayoutId id="2147483818" r:id="rId11"/>
    <p:sldLayoutId id="2147483814" r:id="rId12"/>
    <p:sldLayoutId id="2147483819" r:id="rId13"/>
    <p:sldLayoutId id="2147483822" r:id="rId14"/>
    <p:sldLayoutId id="2147483823" r:id="rId1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2800" b="0" i="0" kern="1200">
          <a:solidFill>
            <a:schemeClr val="accent2"/>
          </a:solidFill>
          <a:latin typeface="+mj-lt"/>
          <a:ea typeface="Open Sans" panose="020B0606030504020204" pitchFamily="34" charset="0"/>
          <a:cs typeface="Open Sans" panose="020B0606030504020204" pitchFamily="34" charset="0"/>
        </a:defRPr>
      </a:lvl1pPr>
    </p:titleStyle>
    <p:body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tmp"/><Relationship Id="rId3" Type="http://schemas.openxmlformats.org/officeDocument/2006/relationships/slideLayout" Target="../slideLayouts/slideLayout1.xml"/><Relationship Id="rId7" Type="http://schemas.openxmlformats.org/officeDocument/2006/relationships/image" Target="../media/image5.png"/><Relationship Id="rId12" Type="http://schemas.openxmlformats.org/officeDocument/2006/relationships/image" Target="../media/image10.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2.emf"/><Relationship Id="rId11" Type="http://schemas.openxmlformats.org/officeDocument/2006/relationships/image" Target="../media/image9.png"/><Relationship Id="rId5" Type="http://schemas.openxmlformats.org/officeDocument/2006/relationships/oleObject" Target="../embeddings/oleObject15.bin"/><Relationship Id="rId10" Type="http://schemas.openxmlformats.org/officeDocument/2006/relationships/image" Target="../media/image8.png"/><Relationship Id="rId4" Type="http://schemas.openxmlformats.org/officeDocument/2006/relationships/notesSlide" Target="../notesSlides/notesSlide1.xml"/><Relationship Id="rId9"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25.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png"/><Relationship Id="rId3" Type="http://schemas.openxmlformats.org/officeDocument/2006/relationships/image" Target="../media/image27.png"/><Relationship Id="rId7" Type="http://schemas.openxmlformats.org/officeDocument/2006/relationships/image" Target="../media/image31.emf"/><Relationship Id="rId12" Type="http://schemas.openxmlformats.org/officeDocument/2006/relationships/image" Target="../media/image36.png"/><Relationship Id="rId2" Type="http://schemas.openxmlformats.org/officeDocument/2006/relationships/notesSlide" Target="../notesSlides/notesSlide17.xml"/><Relationship Id="rId1" Type="http://schemas.openxmlformats.org/officeDocument/2006/relationships/slideLayout" Target="../slideLayouts/slideLayout15.xml"/><Relationship Id="rId6" Type="http://schemas.openxmlformats.org/officeDocument/2006/relationships/image" Target="../media/image30.emf"/><Relationship Id="rId11" Type="http://schemas.openxmlformats.org/officeDocument/2006/relationships/image" Target="../media/image35.png"/><Relationship Id="rId5" Type="http://schemas.openxmlformats.org/officeDocument/2006/relationships/image" Target="../media/image29.png"/><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12.png"/></Relationships>
</file>

<file path=ppt/slides/_rels/slide4.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Layout" Target="../slideLayouts/slideLayout4.xml"/><Relationship Id="rId7" Type="http://schemas.openxmlformats.org/officeDocument/2006/relationships/image" Target="../media/image13.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3.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5595254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7" name="think-cell Slide" r:id="rId5" imgW="498" imgH="499" progId="TCLayout.ActiveDocument.1">
                  <p:embed/>
                </p:oleObj>
              </mc:Choice>
              <mc:Fallback>
                <p:oleObj name="think-cell Slide" r:id="rId5" imgW="498" imgH="499"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Text Placeholder 13"/>
          <p:cNvSpPr>
            <a:spLocks noGrp="1"/>
          </p:cNvSpPr>
          <p:nvPr>
            <p:ph type="body" sz="quarter" idx="11"/>
          </p:nvPr>
        </p:nvSpPr>
        <p:spPr/>
        <p:txBody>
          <a:bodyPr/>
          <a:lstStyle/>
          <a:p>
            <a:r>
              <a:rPr lang="en-US" dirty="0">
                <a:latin typeface="Arial" panose="020B0604020202020204" pitchFamily="34" charset="0"/>
                <a:cs typeface="Arial" panose="020B0604020202020204" pitchFamily="34" charset="0"/>
                <a:sym typeface="Arial" panose="020B0604020202020204" pitchFamily="34" charset="0"/>
              </a:rPr>
              <a:t>David Fitzgerald</a:t>
            </a:r>
          </a:p>
        </p:txBody>
      </p:sp>
      <p:sp>
        <p:nvSpPr>
          <p:cNvPr id="5" name="Title 4"/>
          <p:cNvSpPr>
            <a:spLocks noGrp="1"/>
          </p:cNvSpPr>
          <p:nvPr>
            <p:ph type="ctrTitle"/>
          </p:nvPr>
        </p:nvSpPr>
        <p:spPr>
          <a:xfrm>
            <a:off x="393895" y="1702190"/>
            <a:ext cx="6907237" cy="1568245"/>
          </a:xfrm>
        </p:spPr>
        <p:txBody>
          <a:bodyPr/>
          <a:lstStyle/>
          <a:p>
            <a:r>
              <a:rPr lang="en-US" sz="6600" dirty="0"/>
              <a:t>Clinical Platform</a:t>
            </a:r>
            <a:br>
              <a:rPr lang="en-US" sz="6600" dirty="0"/>
            </a:br>
            <a:r>
              <a:rPr lang="en-US" sz="1600" dirty="0"/>
              <a:t>(Version 3.2) </a:t>
            </a:r>
            <a:endParaRPr lang="en-US" sz="1600" dirty="0">
              <a:latin typeface="Arial" panose="020B0604020202020204" pitchFamily="34" charset="0"/>
              <a:cs typeface="Arial" panose="020B0604020202020204" pitchFamily="34" charset="0"/>
              <a:sym typeface="Arial" panose="020B0604020202020204" pitchFamily="34" charset="0"/>
            </a:endParaRPr>
          </a:p>
        </p:txBody>
      </p:sp>
      <p:sp>
        <p:nvSpPr>
          <p:cNvPr id="16" name="Text Placeholder 15"/>
          <p:cNvSpPr>
            <a:spLocks noGrp="1"/>
          </p:cNvSpPr>
          <p:nvPr>
            <p:ph type="body" sz="quarter" idx="13"/>
          </p:nvPr>
        </p:nvSpPr>
        <p:spPr/>
        <p:txBody>
          <a:bodyPr/>
          <a:lstStyle/>
          <a:p>
            <a:r>
              <a:rPr lang="en-US" dirty="0"/>
              <a:t>July</a:t>
            </a:r>
            <a:r>
              <a:rPr lang="en-US" dirty="0">
                <a:latin typeface="Arial" panose="020B0604020202020204" pitchFamily="34" charset="0"/>
                <a:cs typeface="Arial" panose="020B0604020202020204" pitchFamily="34" charset="0"/>
                <a:sym typeface="Arial" panose="020B0604020202020204" pitchFamily="34" charset="0"/>
              </a:rPr>
              <a:t> 2019</a:t>
            </a:r>
          </a:p>
        </p:txBody>
      </p:sp>
      <p:sp>
        <p:nvSpPr>
          <p:cNvPr id="12" name="Rectangle 11">
            <a:extLst>
              <a:ext uri="{FF2B5EF4-FFF2-40B4-BE49-F238E27FC236}">
                <a16:creationId xmlns:a16="http://schemas.microsoft.com/office/drawing/2014/main" id="{18E5268C-C141-4840-9D00-CD333097B788}"/>
              </a:ext>
            </a:extLst>
          </p:cNvPr>
          <p:cNvSpPr/>
          <p:nvPr/>
        </p:nvSpPr>
        <p:spPr>
          <a:xfrm>
            <a:off x="7747343" y="2948998"/>
            <a:ext cx="4442653" cy="52993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4008" rIns="0" bIns="45720" numCol="1" spcCol="0" rtlCol="0" fromWordArt="0" anchor="ctr" anchorCtr="0" forceAA="0" compatLnSpc="1">
            <a:prstTxWarp prst="textNoShape">
              <a:avLst/>
            </a:prstTxWarp>
            <a:noAutofit/>
          </a:bodyPr>
          <a:lstStyle/>
          <a:p>
            <a:pPr algn="ctr">
              <a:lnSpc>
                <a:spcPct val="85000"/>
              </a:lnSpc>
            </a:pPr>
            <a:r>
              <a:rPr lang="en-US" sz="1600" b="1" dirty="0">
                <a:solidFill>
                  <a:schemeClr val="accent2"/>
                </a:solidFill>
                <a:latin typeface="Arial" panose="020B0604020202020204" pitchFamily="34" charset="0"/>
                <a:cs typeface="Arial" panose="020B0604020202020204" pitchFamily="34" charset="0"/>
                <a:sym typeface="Arial" panose="020B0604020202020204" pitchFamily="34" charset="0"/>
              </a:rPr>
              <a:t>Architecture Planning</a:t>
            </a:r>
          </a:p>
        </p:txBody>
      </p:sp>
      <p:sp>
        <p:nvSpPr>
          <p:cNvPr id="13" name="Rectangle 12"/>
          <p:cNvSpPr/>
          <p:nvPr/>
        </p:nvSpPr>
        <p:spPr>
          <a:xfrm>
            <a:off x="7747342" y="2870052"/>
            <a:ext cx="4442654" cy="74842"/>
          </a:xfrm>
          <a:prstGeom prst="rect">
            <a:avLst/>
          </a:prstGeom>
          <a:solidFill>
            <a:srgbClr val="043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sym typeface="Arial" panose="020B0604020202020204" pitchFamily="34" charset="0"/>
            </a:endParaRPr>
          </a:p>
        </p:txBody>
      </p:sp>
      <p:sp>
        <p:nvSpPr>
          <p:cNvPr id="17" name="Rectangle 16"/>
          <p:cNvSpPr/>
          <p:nvPr/>
        </p:nvSpPr>
        <p:spPr>
          <a:xfrm>
            <a:off x="7747341" y="3386263"/>
            <a:ext cx="4442654" cy="74842"/>
          </a:xfrm>
          <a:prstGeom prst="rect">
            <a:avLst/>
          </a:prstGeom>
          <a:solidFill>
            <a:srgbClr val="043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sym typeface="Arial" panose="020B0604020202020204" pitchFamily="34" charset="0"/>
            </a:endParaRPr>
          </a:p>
        </p:txBody>
      </p:sp>
      <p:pic>
        <p:nvPicPr>
          <p:cNvPr id="18" name="Picture 17"/>
          <p:cNvPicPr>
            <a:picLocks noChangeAspect="1"/>
          </p:cNvPicPr>
          <p:nvPr/>
        </p:nvPicPr>
        <p:blipFill>
          <a:blip r:embed="rId7"/>
          <a:stretch>
            <a:fillRect/>
          </a:stretch>
        </p:blipFill>
        <p:spPr>
          <a:xfrm>
            <a:off x="8094671" y="2990456"/>
            <a:ext cx="426894" cy="364733"/>
          </a:xfrm>
          <a:prstGeom prst="rect">
            <a:avLst/>
          </a:prstGeom>
        </p:spPr>
      </p:pic>
      <p:pic>
        <p:nvPicPr>
          <p:cNvPr id="20" name="Picture 19" descr="Screen Clippi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73954" y="3428083"/>
            <a:ext cx="2587954" cy="396250"/>
          </a:xfrm>
          <a:prstGeom prst="rect">
            <a:avLst/>
          </a:prstGeom>
        </p:spPr>
      </p:pic>
      <p:pic>
        <p:nvPicPr>
          <p:cNvPr id="6" name="Picture 5">
            <a:extLst>
              <a:ext uri="{FF2B5EF4-FFF2-40B4-BE49-F238E27FC236}">
                <a16:creationId xmlns:a16="http://schemas.microsoft.com/office/drawing/2014/main" id="{3449562E-3662-4CB9-8956-49ECD6CD4DEF}"/>
              </a:ext>
            </a:extLst>
          </p:cNvPr>
          <p:cNvPicPr>
            <a:picLocks noChangeAspect="1"/>
          </p:cNvPicPr>
          <p:nvPr/>
        </p:nvPicPr>
        <p:blipFill>
          <a:blip r:embed="rId9"/>
          <a:stretch>
            <a:fillRect/>
          </a:stretch>
        </p:blipFill>
        <p:spPr>
          <a:xfrm>
            <a:off x="7749345" y="927"/>
            <a:ext cx="2275078" cy="1586567"/>
          </a:xfrm>
          <a:prstGeom prst="rect">
            <a:avLst/>
          </a:prstGeom>
        </p:spPr>
      </p:pic>
      <p:pic>
        <p:nvPicPr>
          <p:cNvPr id="7" name="Picture 6">
            <a:extLst>
              <a:ext uri="{FF2B5EF4-FFF2-40B4-BE49-F238E27FC236}">
                <a16:creationId xmlns:a16="http://schemas.microsoft.com/office/drawing/2014/main" id="{7E617991-ADE3-48A5-A158-80CD9F3A8EFD}"/>
              </a:ext>
            </a:extLst>
          </p:cNvPr>
          <p:cNvPicPr>
            <a:picLocks noChangeAspect="1"/>
          </p:cNvPicPr>
          <p:nvPr/>
        </p:nvPicPr>
        <p:blipFill>
          <a:blip r:embed="rId10"/>
          <a:stretch>
            <a:fillRect/>
          </a:stretch>
        </p:blipFill>
        <p:spPr>
          <a:xfrm>
            <a:off x="9970671" y="928"/>
            <a:ext cx="2219325" cy="1666875"/>
          </a:xfrm>
          <a:prstGeom prst="rect">
            <a:avLst/>
          </a:prstGeom>
        </p:spPr>
      </p:pic>
      <p:pic>
        <p:nvPicPr>
          <p:cNvPr id="8" name="Picture 7">
            <a:extLst>
              <a:ext uri="{FF2B5EF4-FFF2-40B4-BE49-F238E27FC236}">
                <a16:creationId xmlns:a16="http://schemas.microsoft.com/office/drawing/2014/main" id="{6585B394-A3AA-42EB-BD13-4DCA63374598}"/>
              </a:ext>
            </a:extLst>
          </p:cNvPr>
          <p:cNvPicPr>
            <a:picLocks noChangeAspect="1"/>
          </p:cNvPicPr>
          <p:nvPr/>
        </p:nvPicPr>
        <p:blipFill>
          <a:blip r:embed="rId11"/>
          <a:stretch>
            <a:fillRect/>
          </a:stretch>
        </p:blipFill>
        <p:spPr>
          <a:xfrm>
            <a:off x="10051633" y="1587494"/>
            <a:ext cx="2057400" cy="1282706"/>
          </a:xfrm>
          <a:prstGeom prst="rect">
            <a:avLst/>
          </a:prstGeom>
        </p:spPr>
      </p:pic>
      <p:pic>
        <p:nvPicPr>
          <p:cNvPr id="10" name="Picture 9">
            <a:extLst>
              <a:ext uri="{FF2B5EF4-FFF2-40B4-BE49-F238E27FC236}">
                <a16:creationId xmlns:a16="http://schemas.microsoft.com/office/drawing/2014/main" id="{46EDCE5C-2873-4F5B-AAF0-A69118E81959}"/>
              </a:ext>
            </a:extLst>
          </p:cNvPr>
          <p:cNvPicPr>
            <a:picLocks noChangeAspect="1"/>
          </p:cNvPicPr>
          <p:nvPr/>
        </p:nvPicPr>
        <p:blipFill>
          <a:blip r:embed="rId12"/>
          <a:stretch>
            <a:fillRect/>
          </a:stretch>
        </p:blipFill>
        <p:spPr>
          <a:xfrm>
            <a:off x="7749345" y="1596602"/>
            <a:ext cx="2412344" cy="1273598"/>
          </a:xfrm>
          <a:prstGeom prst="rect">
            <a:avLst/>
          </a:prstGeom>
        </p:spPr>
      </p:pic>
    </p:spTree>
    <p:extLst>
      <p:ext uri="{BB962C8B-B14F-4D97-AF65-F5344CB8AC3E}">
        <p14:creationId xmlns:p14="http://schemas.microsoft.com/office/powerpoint/2010/main" val="40788421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034BCA-9D70-4C60-AF35-A393A65E8347}"/>
              </a:ext>
            </a:extLst>
          </p:cNvPr>
          <p:cNvSpPr>
            <a:spLocks noGrp="1"/>
          </p:cNvSpPr>
          <p:nvPr>
            <p:ph type="title"/>
          </p:nvPr>
        </p:nvSpPr>
        <p:spPr>
          <a:xfrm>
            <a:off x="310639" y="397336"/>
            <a:ext cx="9688623" cy="476805"/>
          </a:xfrm>
        </p:spPr>
        <p:txBody>
          <a:bodyPr/>
          <a:lstStyle/>
          <a:p>
            <a:r>
              <a:rPr lang="en-US" dirty="0"/>
              <a:t>IT Strategy: Business Platforms</a:t>
            </a:r>
          </a:p>
        </p:txBody>
      </p:sp>
      <p:sp>
        <p:nvSpPr>
          <p:cNvPr id="5" name="Title 1">
            <a:extLst>
              <a:ext uri="{FF2B5EF4-FFF2-40B4-BE49-F238E27FC236}">
                <a16:creationId xmlns:a16="http://schemas.microsoft.com/office/drawing/2014/main" id="{FF28EB3B-E549-4F07-AE67-E2298CFC2C82}"/>
              </a:ext>
            </a:extLst>
          </p:cNvPr>
          <p:cNvSpPr txBox="1">
            <a:spLocks/>
          </p:cNvSpPr>
          <p:nvPr/>
        </p:nvSpPr>
        <p:spPr>
          <a:xfrm>
            <a:off x="101058" y="2137257"/>
            <a:ext cx="2191838" cy="1648637"/>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2800" b="0" i="0" kern="1200">
                <a:solidFill>
                  <a:schemeClr val="tx2"/>
                </a:solidFill>
                <a:latin typeface="Open Sans" charset="0"/>
                <a:ea typeface="Open Sans" charset="0"/>
                <a:cs typeface="Open Sans" charset="0"/>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lang="en-US" sz="1600" dirty="0">
                <a:solidFill>
                  <a:srgbClr val="414141"/>
                </a:solidFill>
                <a:latin typeface="Open Sans"/>
              </a:rPr>
              <a:t>Enhancing our technological capabilities </a:t>
            </a:r>
          </a:p>
          <a:p>
            <a:pPr marL="0" marR="0" lvl="0" indent="0" algn="r" defTabSz="914400" rtl="0" eaLnBrk="1" fontAlgn="auto" latinLnBrk="0" hangingPunct="1">
              <a:lnSpc>
                <a:spcPct val="90000"/>
              </a:lnSpc>
              <a:spcBef>
                <a:spcPct val="0"/>
              </a:spcBef>
              <a:spcAft>
                <a:spcPts val="0"/>
              </a:spcAft>
              <a:buClrTx/>
              <a:buSzTx/>
              <a:buFontTx/>
              <a:buNone/>
              <a:tabLst/>
              <a:defRPr/>
            </a:pPr>
            <a:r>
              <a:rPr lang="en-US" dirty="0">
                <a:solidFill>
                  <a:srgbClr val="414141"/>
                </a:solidFill>
                <a:latin typeface="Open Sans"/>
              </a:rPr>
              <a:t>The Case </a:t>
            </a:r>
          </a:p>
          <a:p>
            <a:pPr marL="0" marR="0" lvl="0" indent="0" algn="r" defTabSz="914400" rtl="0" eaLnBrk="1" fontAlgn="auto" latinLnBrk="0" hangingPunct="1">
              <a:lnSpc>
                <a:spcPct val="90000"/>
              </a:lnSpc>
              <a:spcBef>
                <a:spcPct val="0"/>
              </a:spcBef>
              <a:spcAft>
                <a:spcPts val="0"/>
              </a:spcAft>
              <a:buClrTx/>
              <a:buSzTx/>
              <a:buFontTx/>
              <a:buNone/>
              <a:tabLst/>
              <a:defRPr/>
            </a:pPr>
            <a:r>
              <a:rPr lang="en-US" dirty="0">
                <a:solidFill>
                  <a:srgbClr val="414141"/>
                </a:solidFill>
                <a:latin typeface="Open Sans"/>
              </a:rPr>
              <a:t>for Change</a:t>
            </a:r>
          </a:p>
        </p:txBody>
      </p:sp>
      <p:grpSp>
        <p:nvGrpSpPr>
          <p:cNvPr id="6" name="Group 5">
            <a:extLst>
              <a:ext uri="{FF2B5EF4-FFF2-40B4-BE49-F238E27FC236}">
                <a16:creationId xmlns:a16="http://schemas.microsoft.com/office/drawing/2014/main" id="{17115F01-F957-426A-AF54-A6555BB407C1}"/>
              </a:ext>
            </a:extLst>
          </p:cNvPr>
          <p:cNvGrpSpPr/>
          <p:nvPr/>
        </p:nvGrpSpPr>
        <p:grpSpPr>
          <a:xfrm>
            <a:off x="2725277" y="1684771"/>
            <a:ext cx="200549" cy="4754880"/>
            <a:chOff x="7472646" y="1279257"/>
            <a:chExt cx="200549" cy="4754880"/>
          </a:xfrm>
        </p:grpSpPr>
        <p:cxnSp>
          <p:nvCxnSpPr>
            <p:cNvPr id="7" name="Straight Connector 6">
              <a:extLst>
                <a:ext uri="{FF2B5EF4-FFF2-40B4-BE49-F238E27FC236}">
                  <a16:creationId xmlns:a16="http://schemas.microsoft.com/office/drawing/2014/main" id="{94E59BAE-8F2D-4A55-9A89-8A3F66087ADD}"/>
                </a:ext>
              </a:extLst>
            </p:cNvPr>
            <p:cNvCxnSpPr/>
            <p:nvPr/>
          </p:nvCxnSpPr>
          <p:spPr bwMode="gray">
            <a:xfrm>
              <a:off x="7472646" y="1279257"/>
              <a:ext cx="0" cy="4754880"/>
            </a:xfrm>
            <a:prstGeom prst="line">
              <a:avLst/>
            </a:prstGeom>
            <a:ln>
              <a:solidFill>
                <a:schemeClr val="bg1">
                  <a:lumMod val="85000"/>
                </a:schemeClr>
              </a:solidFill>
            </a:ln>
          </p:spPr>
          <p:style>
            <a:lnRef idx="1">
              <a:schemeClr val="accent2"/>
            </a:lnRef>
            <a:fillRef idx="0">
              <a:schemeClr val="accent2"/>
            </a:fillRef>
            <a:effectRef idx="0">
              <a:schemeClr val="accent2"/>
            </a:effectRef>
            <a:fontRef idx="minor">
              <a:schemeClr val="tx1"/>
            </a:fontRef>
          </p:style>
        </p:cxnSp>
        <p:sp>
          <p:nvSpPr>
            <p:cNvPr id="8" name="Isosceles Triangle 7">
              <a:extLst>
                <a:ext uri="{FF2B5EF4-FFF2-40B4-BE49-F238E27FC236}">
                  <a16:creationId xmlns:a16="http://schemas.microsoft.com/office/drawing/2014/main" id="{6BEC0D6D-5895-4746-83ED-5E02EBDD5410}"/>
                </a:ext>
              </a:extLst>
            </p:cNvPr>
            <p:cNvSpPr/>
            <p:nvPr/>
          </p:nvSpPr>
          <p:spPr bwMode="gray">
            <a:xfrm rot="5400000">
              <a:off x="7296603" y="2250137"/>
              <a:ext cx="552635" cy="200549"/>
            </a:xfrm>
            <a:prstGeom prst="triangle">
              <a:avLst/>
            </a:prstGeom>
            <a:solidFill>
              <a:schemeClr val="bg1">
                <a:lumMod val="7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b="1" dirty="0">
                <a:solidFill>
                  <a:schemeClr val="bg1"/>
                </a:solidFill>
              </a:endParaRPr>
            </a:p>
          </p:txBody>
        </p:sp>
      </p:grpSp>
      <p:sp>
        <p:nvSpPr>
          <p:cNvPr id="9" name="Rectangle 8">
            <a:extLst>
              <a:ext uri="{FF2B5EF4-FFF2-40B4-BE49-F238E27FC236}">
                <a16:creationId xmlns:a16="http://schemas.microsoft.com/office/drawing/2014/main" id="{CA0A54B6-73D8-4168-B9DF-63318A57A0A0}"/>
              </a:ext>
            </a:extLst>
          </p:cNvPr>
          <p:cNvSpPr/>
          <p:nvPr/>
        </p:nvSpPr>
        <p:spPr>
          <a:xfrm>
            <a:off x="4116176" y="1774734"/>
            <a:ext cx="2796109" cy="1421993"/>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lvl="1" algn="ctr">
              <a:lnSpc>
                <a:spcPct val="110000"/>
              </a:lnSpc>
              <a:defRPr/>
            </a:pPr>
            <a:r>
              <a:rPr lang="en-US" sz="1400" b="1" dirty="0">
                <a:solidFill>
                  <a:srgbClr val="064E69"/>
                </a:solidFill>
              </a:rPr>
              <a:t>Harmonizing and integrating lowers cost and accelerates transformation</a:t>
            </a:r>
          </a:p>
        </p:txBody>
      </p:sp>
      <p:sp>
        <p:nvSpPr>
          <p:cNvPr id="10" name="Rectangle 9">
            <a:extLst>
              <a:ext uri="{FF2B5EF4-FFF2-40B4-BE49-F238E27FC236}">
                <a16:creationId xmlns:a16="http://schemas.microsoft.com/office/drawing/2014/main" id="{2D579617-2025-4B5A-8C01-ADA185459820}"/>
              </a:ext>
            </a:extLst>
          </p:cNvPr>
          <p:cNvSpPr/>
          <p:nvPr/>
        </p:nvSpPr>
        <p:spPr>
          <a:xfrm>
            <a:off x="7265961" y="1739076"/>
            <a:ext cx="4347583" cy="14261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9027" indent="-119027" defTabSz="456621" fontAlgn="base">
              <a:spcBef>
                <a:spcPts val="400"/>
              </a:spcBef>
              <a:buFont typeface="Arial" panose="020B0604020202020204" pitchFamily="34" charset="0"/>
              <a:buChar char="•"/>
            </a:pPr>
            <a:r>
              <a:rPr lang="en-US" sz="1400" dirty="0">
                <a:solidFill>
                  <a:schemeClr val="tx1"/>
                </a:solidFill>
                <a:cs typeface="Open Sans Light"/>
              </a:rPr>
              <a:t>Harmonize capabilities (think which platform does what)</a:t>
            </a:r>
          </a:p>
          <a:p>
            <a:pPr marL="119027" indent="-119027" defTabSz="456621" fontAlgn="base">
              <a:spcBef>
                <a:spcPts val="400"/>
              </a:spcBef>
              <a:buFont typeface="Arial" panose="020B0604020202020204" pitchFamily="34" charset="0"/>
              <a:buChar char="•"/>
            </a:pPr>
            <a:r>
              <a:rPr lang="en-US" sz="1400" dirty="0">
                <a:solidFill>
                  <a:schemeClr val="tx1"/>
                </a:solidFill>
                <a:cs typeface="Open Sans Light"/>
              </a:rPr>
              <a:t>Rationalize duplicates (think Clinical platform and GPS) and purposely synergize.  </a:t>
            </a:r>
          </a:p>
          <a:p>
            <a:pPr marL="119027" indent="-119027" defTabSz="456621" fontAlgn="base">
              <a:spcBef>
                <a:spcPts val="400"/>
              </a:spcBef>
              <a:buFont typeface="Arial" panose="020B0604020202020204" pitchFamily="34" charset="0"/>
              <a:buChar char="•"/>
            </a:pPr>
            <a:r>
              <a:rPr lang="en-US" sz="1400" dirty="0">
                <a:solidFill>
                  <a:schemeClr val="tx1"/>
                </a:solidFill>
                <a:cs typeface="Open Sans Light"/>
              </a:rPr>
              <a:t>Deeply integrate adjacent capabilities (think EPIC and </a:t>
            </a:r>
            <a:r>
              <a:rPr lang="en-US" sz="1400" dirty="0" err="1">
                <a:solidFill>
                  <a:schemeClr val="tx1"/>
                </a:solidFill>
                <a:cs typeface="Open Sans Light"/>
              </a:rPr>
              <a:t>MedCompass</a:t>
            </a:r>
            <a:r>
              <a:rPr lang="en-US" sz="1400" dirty="0">
                <a:solidFill>
                  <a:schemeClr val="tx1"/>
                </a:solidFill>
                <a:cs typeface="Open Sans Light"/>
              </a:rPr>
              <a:t>)</a:t>
            </a:r>
          </a:p>
        </p:txBody>
      </p:sp>
      <p:sp>
        <p:nvSpPr>
          <p:cNvPr id="11" name="Oval 10">
            <a:extLst>
              <a:ext uri="{FF2B5EF4-FFF2-40B4-BE49-F238E27FC236}">
                <a16:creationId xmlns:a16="http://schemas.microsoft.com/office/drawing/2014/main" id="{96A10726-ECF5-4102-B70B-05959560BFD4}"/>
              </a:ext>
            </a:extLst>
          </p:cNvPr>
          <p:cNvSpPr/>
          <p:nvPr/>
        </p:nvSpPr>
        <p:spPr>
          <a:xfrm>
            <a:off x="3569952" y="2098513"/>
            <a:ext cx="731520" cy="731520"/>
          </a:xfrm>
          <a:prstGeom prst="ellipse">
            <a:avLst/>
          </a:prstGeom>
          <a:solidFill>
            <a:schemeClr val="tx2"/>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en-US" sz="1799" b="1" dirty="0">
                <a:solidFill>
                  <a:srgbClr val="FFFFFF"/>
                </a:solidFill>
                <a:latin typeface="Open Sans Bold"/>
                <a:cs typeface="Open Sans Bold"/>
              </a:rPr>
              <a:t>1</a:t>
            </a:r>
          </a:p>
        </p:txBody>
      </p:sp>
      <p:cxnSp>
        <p:nvCxnSpPr>
          <p:cNvPr id="12" name="Straight Connector 11">
            <a:extLst>
              <a:ext uri="{FF2B5EF4-FFF2-40B4-BE49-F238E27FC236}">
                <a16:creationId xmlns:a16="http://schemas.microsoft.com/office/drawing/2014/main" id="{09F91370-421F-46A7-8F84-4EB0BB26A020}"/>
              </a:ext>
            </a:extLst>
          </p:cNvPr>
          <p:cNvCxnSpPr>
            <a:cxnSpLocks/>
          </p:cNvCxnSpPr>
          <p:nvPr/>
        </p:nvCxnSpPr>
        <p:spPr>
          <a:xfrm>
            <a:off x="7135085" y="1760938"/>
            <a:ext cx="0" cy="1449585"/>
          </a:xfrm>
          <a:prstGeom prst="line">
            <a:avLst/>
          </a:prstGeom>
          <a:ln w="12700" cmpd="sng">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70177A0B-2942-40EA-B2A2-9B254CE00ABB}"/>
              </a:ext>
            </a:extLst>
          </p:cNvPr>
          <p:cNvSpPr/>
          <p:nvPr/>
        </p:nvSpPr>
        <p:spPr>
          <a:xfrm>
            <a:off x="4116176" y="3315401"/>
            <a:ext cx="2796109" cy="1421993"/>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lvl="1" algn="ctr">
              <a:lnSpc>
                <a:spcPct val="110000"/>
              </a:lnSpc>
              <a:defRPr/>
            </a:pPr>
            <a:r>
              <a:rPr lang="en-US" sz="1400" b="1" dirty="0">
                <a:solidFill>
                  <a:srgbClr val="064E69"/>
                </a:solidFill>
              </a:rPr>
              <a:t>An “open source model” is a required platform characteristic, business-wise and IT-wise</a:t>
            </a:r>
          </a:p>
        </p:txBody>
      </p:sp>
      <p:sp>
        <p:nvSpPr>
          <p:cNvPr id="14" name="Rectangle 13">
            <a:extLst>
              <a:ext uri="{FF2B5EF4-FFF2-40B4-BE49-F238E27FC236}">
                <a16:creationId xmlns:a16="http://schemas.microsoft.com/office/drawing/2014/main" id="{B98489A9-4044-4F4A-A3CA-9975779E797E}"/>
              </a:ext>
            </a:extLst>
          </p:cNvPr>
          <p:cNvSpPr/>
          <p:nvPr/>
        </p:nvSpPr>
        <p:spPr>
          <a:xfrm>
            <a:off x="7265960" y="3376373"/>
            <a:ext cx="4396025" cy="12212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9027" indent="-119027" defTabSz="456621" fontAlgn="base">
              <a:spcBef>
                <a:spcPts val="400"/>
              </a:spcBef>
              <a:buFont typeface="Arial" panose="020B0604020202020204" pitchFamily="34" charset="0"/>
              <a:buChar char="•"/>
            </a:pPr>
            <a:r>
              <a:rPr lang="en-US" sz="1400" dirty="0">
                <a:solidFill>
                  <a:schemeClr val="tx1"/>
                </a:solidFill>
                <a:cs typeface="Open Sans Light"/>
              </a:rPr>
              <a:t>Enable flexible business models and 3</a:t>
            </a:r>
            <a:r>
              <a:rPr lang="en-US" sz="1400" baseline="30000" dirty="0">
                <a:solidFill>
                  <a:schemeClr val="tx1"/>
                </a:solidFill>
                <a:cs typeface="Open Sans Light"/>
              </a:rPr>
              <a:t>rd</a:t>
            </a:r>
            <a:r>
              <a:rPr lang="en-US" sz="1400" dirty="0">
                <a:solidFill>
                  <a:schemeClr val="tx1"/>
                </a:solidFill>
                <a:cs typeface="Open Sans Light"/>
              </a:rPr>
              <a:t> party integration (think Plug and Play)</a:t>
            </a:r>
            <a:endParaRPr lang="en-US" sz="1400" baseline="30000" dirty="0">
              <a:solidFill>
                <a:schemeClr val="tx1"/>
              </a:solidFill>
              <a:cs typeface="Open Sans Light"/>
            </a:endParaRPr>
          </a:p>
        </p:txBody>
      </p:sp>
      <p:sp>
        <p:nvSpPr>
          <p:cNvPr id="15" name="Oval 14">
            <a:extLst>
              <a:ext uri="{FF2B5EF4-FFF2-40B4-BE49-F238E27FC236}">
                <a16:creationId xmlns:a16="http://schemas.microsoft.com/office/drawing/2014/main" id="{0BBBDF40-38FF-46F2-AC88-CBC416D53BAE}"/>
              </a:ext>
            </a:extLst>
          </p:cNvPr>
          <p:cNvSpPr/>
          <p:nvPr/>
        </p:nvSpPr>
        <p:spPr>
          <a:xfrm>
            <a:off x="3569952" y="3660637"/>
            <a:ext cx="731520" cy="731520"/>
          </a:xfrm>
          <a:prstGeom prst="ellipse">
            <a:avLst/>
          </a:prstGeom>
          <a:solidFill>
            <a:schemeClr val="tx2"/>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en-US" sz="1799" b="1" dirty="0">
                <a:solidFill>
                  <a:srgbClr val="FFFFFF"/>
                </a:solidFill>
                <a:latin typeface="Open Sans Bold"/>
                <a:cs typeface="Open Sans Bold"/>
              </a:rPr>
              <a:t>2</a:t>
            </a:r>
          </a:p>
        </p:txBody>
      </p:sp>
      <p:cxnSp>
        <p:nvCxnSpPr>
          <p:cNvPr id="16" name="Straight Connector 15">
            <a:extLst>
              <a:ext uri="{FF2B5EF4-FFF2-40B4-BE49-F238E27FC236}">
                <a16:creationId xmlns:a16="http://schemas.microsoft.com/office/drawing/2014/main" id="{F3FF50E4-C5B5-4A8B-8E1C-195FF3B543DC}"/>
              </a:ext>
            </a:extLst>
          </p:cNvPr>
          <p:cNvCxnSpPr>
            <a:cxnSpLocks/>
          </p:cNvCxnSpPr>
          <p:nvPr/>
        </p:nvCxnSpPr>
        <p:spPr>
          <a:xfrm>
            <a:off x="7135085" y="3301605"/>
            <a:ext cx="0" cy="1449585"/>
          </a:xfrm>
          <a:prstGeom prst="line">
            <a:avLst/>
          </a:prstGeom>
          <a:ln w="12700" cmpd="sng">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4042D228-872C-4FBE-8EBF-36227B670403}"/>
              </a:ext>
            </a:extLst>
          </p:cNvPr>
          <p:cNvSpPr/>
          <p:nvPr/>
        </p:nvSpPr>
        <p:spPr>
          <a:xfrm>
            <a:off x="4116176" y="4907103"/>
            <a:ext cx="2796109" cy="1421993"/>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lvl="1" algn="ctr">
              <a:lnSpc>
                <a:spcPct val="110000"/>
              </a:lnSpc>
              <a:defRPr/>
            </a:pPr>
            <a:r>
              <a:rPr lang="en-US" sz="1400" b="1" dirty="0">
                <a:solidFill>
                  <a:srgbClr val="064E69"/>
                </a:solidFill>
              </a:rPr>
              <a:t>Business unit accountability, enterprise responsibility</a:t>
            </a:r>
          </a:p>
        </p:txBody>
      </p:sp>
      <p:sp>
        <p:nvSpPr>
          <p:cNvPr id="18" name="Rectangle 17">
            <a:extLst>
              <a:ext uri="{FF2B5EF4-FFF2-40B4-BE49-F238E27FC236}">
                <a16:creationId xmlns:a16="http://schemas.microsoft.com/office/drawing/2014/main" id="{07533123-F902-4536-927E-05102C02D63D}"/>
              </a:ext>
            </a:extLst>
          </p:cNvPr>
          <p:cNvSpPr/>
          <p:nvPr/>
        </p:nvSpPr>
        <p:spPr>
          <a:xfrm>
            <a:off x="7265960" y="4905015"/>
            <a:ext cx="3947912" cy="14261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9027" indent="-119027" defTabSz="456621" fontAlgn="base">
              <a:spcBef>
                <a:spcPts val="400"/>
              </a:spcBef>
              <a:buFont typeface="Arial" panose="020B0604020202020204" pitchFamily="34" charset="0"/>
              <a:buChar char="•"/>
            </a:pPr>
            <a:r>
              <a:rPr lang="en-US" sz="1400" dirty="0">
                <a:solidFill>
                  <a:schemeClr val="tx1"/>
                </a:solidFill>
                <a:cs typeface="Open Sans Light"/>
              </a:rPr>
              <a:t>Platform thinking, roadmap and investments (think Apple, Google, Amazon, Facebook, Disney, …)</a:t>
            </a:r>
            <a:endParaRPr lang="en-US" sz="1400" baseline="30000" dirty="0">
              <a:solidFill>
                <a:schemeClr val="tx1"/>
              </a:solidFill>
              <a:cs typeface="Open Sans Light"/>
            </a:endParaRPr>
          </a:p>
        </p:txBody>
      </p:sp>
      <p:sp>
        <p:nvSpPr>
          <p:cNvPr id="19" name="Oval 18">
            <a:extLst>
              <a:ext uri="{FF2B5EF4-FFF2-40B4-BE49-F238E27FC236}">
                <a16:creationId xmlns:a16="http://schemas.microsoft.com/office/drawing/2014/main" id="{8D440BDF-12EB-4D45-B0A4-2543DB4A94BF}"/>
              </a:ext>
            </a:extLst>
          </p:cNvPr>
          <p:cNvSpPr/>
          <p:nvPr/>
        </p:nvSpPr>
        <p:spPr>
          <a:xfrm>
            <a:off x="3569952" y="5252339"/>
            <a:ext cx="731520" cy="731520"/>
          </a:xfrm>
          <a:prstGeom prst="ellipse">
            <a:avLst/>
          </a:prstGeom>
          <a:solidFill>
            <a:schemeClr val="tx2"/>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en-US" sz="1799" b="1" dirty="0">
                <a:solidFill>
                  <a:srgbClr val="FFFFFF"/>
                </a:solidFill>
                <a:latin typeface="Open Sans Bold"/>
                <a:cs typeface="Open Sans Bold"/>
              </a:rPr>
              <a:t>3</a:t>
            </a:r>
          </a:p>
        </p:txBody>
      </p:sp>
      <p:cxnSp>
        <p:nvCxnSpPr>
          <p:cNvPr id="20" name="Straight Connector 19">
            <a:extLst>
              <a:ext uri="{FF2B5EF4-FFF2-40B4-BE49-F238E27FC236}">
                <a16:creationId xmlns:a16="http://schemas.microsoft.com/office/drawing/2014/main" id="{680A0011-8A1C-4A75-B4A1-728D84DA4B0E}"/>
              </a:ext>
            </a:extLst>
          </p:cNvPr>
          <p:cNvCxnSpPr>
            <a:cxnSpLocks/>
          </p:cNvCxnSpPr>
          <p:nvPr/>
        </p:nvCxnSpPr>
        <p:spPr>
          <a:xfrm>
            <a:off x="7135085" y="4893307"/>
            <a:ext cx="0" cy="1449585"/>
          </a:xfrm>
          <a:prstGeom prst="line">
            <a:avLst/>
          </a:prstGeom>
          <a:ln w="12700" cmpd="sng">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E9D63510-0DBB-45F7-8A0D-532F64E8B19F}"/>
              </a:ext>
            </a:extLst>
          </p:cNvPr>
          <p:cNvPicPr>
            <a:picLocks noChangeAspect="1"/>
          </p:cNvPicPr>
          <p:nvPr/>
        </p:nvPicPr>
        <p:blipFill>
          <a:blip r:embed="rId3"/>
          <a:stretch>
            <a:fillRect/>
          </a:stretch>
        </p:blipFill>
        <p:spPr>
          <a:xfrm>
            <a:off x="0" y="4762899"/>
            <a:ext cx="2748721" cy="1256924"/>
          </a:xfrm>
          <a:prstGeom prst="rect">
            <a:avLst/>
          </a:prstGeom>
        </p:spPr>
      </p:pic>
    </p:spTree>
    <p:extLst>
      <p:ext uri="{BB962C8B-B14F-4D97-AF65-F5344CB8AC3E}">
        <p14:creationId xmlns:p14="http://schemas.microsoft.com/office/powerpoint/2010/main" val="8188452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3177" y="1589"/>
          <a:ext cx="1587" cy="1587"/>
        </p:xfrm>
        <a:graphic>
          <a:graphicData uri="http://schemas.openxmlformats.org/presentationml/2006/ole">
            <mc:AlternateContent xmlns:mc="http://schemas.openxmlformats.org/markup-compatibility/2006">
              <mc:Choice xmlns:v="urn:schemas-microsoft-com:vml" Requires="v">
                <p:oleObj spid="_x0000_s39937" name="think-cell Slide" r:id="rId5" imgW="498" imgH="499" progId="TCLayout.ActiveDocument.1">
                  <p:embed/>
                </p:oleObj>
              </mc:Choice>
              <mc:Fallback>
                <p:oleObj name="think-cell Slide" r:id="rId5" imgW="498" imgH="499" progId="TCLayout.ActiveDocument.1">
                  <p:embed/>
                  <p:pic>
                    <p:nvPicPr>
                      <p:cNvPr id="10" name="Object 9" hidden="1"/>
                      <p:cNvPicPr/>
                      <p:nvPr/>
                    </p:nvPicPr>
                    <p:blipFill>
                      <a:blip r:embed="rId6"/>
                      <a:stretch>
                        <a:fillRect/>
                      </a:stretch>
                    </p:blipFill>
                    <p:spPr>
                      <a:xfrm>
                        <a:off x="3177" y="1589"/>
                        <a:ext cx="1587" cy="1587"/>
                      </a:xfrm>
                      <a:prstGeom prst="rect">
                        <a:avLst/>
                      </a:prstGeom>
                    </p:spPr>
                  </p:pic>
                </p:oleObj>
              </mc:Fallback>
            </mc:AlternateContent>
          </a:graphicData>
        </a:graphic>
      </p:graphicFrame>
      <p:sp>
        <p:nvSpPr>
          <p:cNvPr id="3" name="Text Placeholder 2"/>
          <p:cNvSpPr>
            <a:spLocks noGrp="1"/>
          </p:cNvSpPr>
          <p:nvPr>
            <p:ph type="body" sz="quarter" idx="11"/>
          </p:nvPr>
        </p:nvSpPr>
        <p:spPr>
          <a:xfrm>
            <a:off x="474471" y="847831"/>
            <a:ext cx="9686099" cy="423094"/>
          </a:xfrm>
        </p:spPr>
        <p:txBody>
          <a:bodyPr/>
          <a:lstStyle/>
          <a:p>
            <a:r>
              <a:rPr lang="en-US" sz="1800" dirty="0"/>
              <a:t>In an ideal future state, CVS would provide its Members, Clinicians and Providers with a full suite of engagement options to enable a healthier life.</a:t>
            </a:r>
          </a:p>
        </p:txBody>
      </p:sp>
      <p:sp>
        <p:nvSpPr>
          <p:cNvPr id="6" name="Title 5"/>
          <p:cNvSpPr>
            <a:spLocks noGrp="1"/>
          </p:cNvSpPr>
          <p:nvPr>
            <p:ph type="title"/>
          </p:nvPr>
        </p:nvSpPr>
        <p:spPr>
          <a:xfrm>
            <a:off x="471947" y="176846"/>
            <a:ext cx="9688623" cy="476805"/>
          </a:xfrm>
        </p:spPr>
        <p:txBody>
          <a:bodyPr/>
          <a:lstStyle/>
          <a:p>
            <a:r>
              <a:rPr lang="en-US" dirty="0">
                <a:latin typeface="Domaine Display Bold" panose="020A0803080505060203" pitchFamily="18" charset="0"/>
              </a:rPr>
              <a:t>What does Success look like?</a:t>
            </a:r>
          </a:p>
        </p:txBody>
      </p:sp>
      <p:sp>
        <p:nvSpPr>
          <p:cNvPr id="28" name="TextBox 27">
            <a:extLst>
              <a:ext uri="{FF2B5EF4-FFF2-40B4-BE49-F238E27FC236}">
                <a16:creationId xmlns:a16="http://schemas.microsoft.com/office/drawing/2014/main" id="{92264F86-DF51-4DAA-907C-B6A64C902D67}"/>
              </a:ext>
            </a:extLst>
          </p:cNvPr>
          <p:cNvSpPr txBox="1"/>
          <p:nvPr/>
        </p:nvSpPr>
        <p:spPr>
          <a:xfrm>
            <a:off x="195338" y="1703506"/>
            <a:ext cx="2964357" cy="4455993"/>
          </a:xfrm>
          <a:prstGeom prst="rect">
            <a:avLst/>
          </a:prstGeom>
          <a:noFill/>
        </p:spPr>
        <p:txBody>
          <a:bodyPr wrap="square" lIns="0" tIns="0" rIns="0" bIns="0" rtlCol="0">
            <a:noAutofit/>
          </a:bodyPr>
          <a:lstStyle/>
          <a:p>
            <a:pPr>
              <a:spcBef>
                <a:spcPts val="400"/>
              </a:spcBef>
              <a:defRPr/>
            </a:pPr>
            <a:r>
              <a:rPr lang="en-US" sz="1400" dirty="0">
                <a:cs typeface="Open Sans Light"/>
              </a:rPr>
              <a:t>NOTES:</a:t>
            </a:r>
          </a:p>
          <a:p>
            <a:pPr>
              <a:spcBef>
                <a:spcPts val="400"/>
              </a:spcBef>
              <a:defRPr/>
            </a:pPr>
            <a:r>
              <a:rPr lang="en-US" sz="1400" dirty="0">
                <a:cs typeface="Open Sans Light"/>
              </a:rPr>
              <a:t>Enable an organization wide Clinical Platform, whose mission and vision is:</a:t>
            </a:r>
          </a:p>
          <a:p>
            <a:pPr marL="171450" indent="-171450">
              <a:spcBef>
                <a:spcPts val="400"/>
              </a:spcBef>
              <a:buFont typeface="Arial" panose="020B0604020202020204" pitchFamily="34" charset="0"/>
              <a:buChar char="•"/>
              <a:defRPr/>
            </a:pPr>
            <a:r>
              <a:rPr lang="en-US" sz="1400" dirty="0">
                <a:cs typeface="Open Sans Light"/>
              </a:rPr>
              <a:t>Create a platform to host any and all Clinical applications and data.  </a:t>
            </a:r>
          </a:p>
          <a:p>
            <a:pPr marL="171450" indent="-171450">
              <a:spcBef>
                <a:spcPts val="400"/>
              </a:spcBef>
              <a:buFont typeface="Arial" panose="020B0604020202020204" pitchFamily="34" charset="0"/>
              <a:buChar char="•"/>
              <a:defRPr/>
            </a:pPr>
            <a:r>
              <a:rPr lang="en-US" sz="1400" dirty="0">
                <a:cs typeface="Open Sans Light"/>
              </a:rPr>
              <a:t>Accept data from a known divergent pool of suppliers defined by the business</a:t>
            </a:r>
          </a:p>
          <a:p>
            <a:pPr marL="171450" indent="-171450">
              <a:spcBef>
                <a:spcPts val="400"/>
              </a:spcBef>
              <a:buFont typeface="Arial" panose="020B0604020202020204" pitchFamily="34" charset="0"/>
              <a:buChar char="•"/>
              <a:defRPr/>
            </a:pPr>
            <a:r>
              <a:rPr lang="en-US" sz="1400" dirty="0">
                <a:cs typeface="Open Sans Light"/>
              </a:rPr>
              <a:t>Expose data to known consumers. </a:t>
            </a:r>
          </a:p>
          <a:p>
            <a:pPr marL="171450" indent="-171450">
              <a:spcBef>
                <a:spcPts val="400"/>
              </a:spcBef>
              <a:buFont typeface="Arial" panose="020B0604020202020204" pitchFamily="34" charset="0"/>
              <a:buChar char="•"/>
              <a:defRPr/>
            </a:pPr>
            <a:r>
              <a:rPr lang="en-US" sz="1400" dirty="0">
                <a:cs typeface="Open Sans Light"/>
              </a:rPr>
              <a:t>Enable an architecture to Plug-and Play at the speed of business – to either add or remove suppliers, consumers, applications or partners</a:t>
            </a:r>
          </a:p>
          <a:p>
            <a:pPr marL="171450" indent="-171450">
              <a:spcBef>
                <a:spcPts val="400"/>
              </a:spcBef>
              <a:buFont typeface="Arial" panose="020B0604020202020204" pitchFamily="34" charset="0"/>
              <a:buChar char="•"/>
              <a:defRPr/>
            </a:pPr>
            <a:r>
              <a:rPr lang="en-US" sz="1400" dirty="0">
                <a:cs typeface="Open Sans Light"/>
              </a:rPr>
              <a:t>Need: Possible Individual consent of data passage.  </a:t>
            </a:r>
          </a:p>
          <a:p>
            <a:pPr marL="171450" indent="-171450">
              <a:spcBef>
                <a:spcPts val="400"/>
              </a:spcBef>
              <a:buFont typeface="Arial" panose="020B0604020202020204" pitchFamily="34" charset="0"/>
              <a:buChar char="•"/>
              <a:defRPr/>
            </a:pPr>
            <a:r>
              <a:rPr lang="en-US" sz="1400" dirty="0">
                <a:cs typeface="Open Sans Light"/>
              </a:rPr>
              <a:t>Need: Delete data on demand</a:t>
            </a:r>
          </a:p>
          <a:p>
            <a:pPr marL="171450" indent="-171450">
              <a:spcBef>
                <a:spcPts val="400"/>
              </a:spcBef>
              <a:buFont typeface="Arial" panose="020B0604020202020204" pitchFamily="34" charset="0"/>
              <a:buChar char="•"/>
              <a:defRPr/>
            </a:pPr>
            <a:r>
              <a:rPr lang="en-US" sz="1400" dirty="0">
                <a:cs typeface="Open Sans Light"/>
              </a:rPr>
              <a:t>Need: Privacy by design </a:t>
            </a:r>
          </a:p>
          <a:p>
            <a:pPr>
              <a:spcBef>
                <a:spcPts val="400"/>
              </a:spcBef>
              <a:defRPr/>
            </a:pPr>
            <a:endParaRPr lang="en-US" sz="1200" dirty="0">
              <a:solidFill>
                <a:schemeClr val="tx2"/>
              </a:solidFill>
              <a:cs typeface="Open Sans Light"/>
            </a:endParaRPr>
          </a:p>
        </p:txBody>
      </p:sp>
      <p:sp>
        <p:nvSpPr>
          <p:cNvPr id="7" name="TextBox 6">
            <a:extLst>
              <a:ext uri="{FF2B5EF4-FFF2-40B4-BE49-F238E27FC236}">
                <a16:creationId xmlns:a16="http://schemas.microsoft.com/office/drawing/2014/main" id="{86637726-0638-4735-A070-A2DB192229FE}"/>
              </a:ext>
            </a:extLst>
          </p:cNvPr>
          <p:cNvSpPr txBox="1"/>
          <p:nvPr/>
        </p:nvSpPr>
        <p:spPr>
          <a:xfrm>
            <a:off x="9648844" y="1566910"/>
            <a:ext cx="2061975" cy="136596"/>
          </a:xfrm>
          <a:prstGeom prst="rect">
            <a:avLst/>
          </a:prstGeom>
          <a:noFill/>
        </p:spPr>
        <p:txBody>
          <a:bodyPr wrap="none" lIns="0" tIns="0" rIns="0" bIns="0" rtlCol="0">
            <a:noAutofit/>
          </a:bodyPr>
          <a:lstStyle/>
          <a:p>
            <a:pPr defTabSz="456758" fontAlgn="base"/>
            <a:r>
              <a:rPr lang="en-US" sz="1100" dirty="0">
                <a:solidFill>
                  <a:schemeClr val="tx2"/>
                </a:solidFill>
                <a:latin typeface="Open Sans" panose="020B0606030504020204" pitchFamily="34" charset="0"/>
                <a:ea typeface="Open Sans" panose="020B0606030504020204" pitchFamily="34" charset="0"/>
                <a:cs typeface="Open Sans" panose="020B0606030504020204" pitchFamily="34" charset="0"/>
              </a:rPr>
              <a:t>Clinical Platform and UDF</a:t>
            </a:r>
            <a:endParaRPr lang="en-US" sz="1100" dirty="0">
              <a:solidFill>
                <a:schemeClr val="tx2"/>
              </a:solidFill>
              <a:latin typeface="Open Sans Light"/>
              <a:cs typeface="Open Sans Light"/>
            </a:endParaRPr>
          </a:p>
        </p:txBody>
      </p:sp>
      <p:pic>
        <p:nvPicPr>
          <p:cNvPr id="12" name="Picture 11">
            <a:extLst>
              <a:ext uri="{FF2B5EF4-FFF2-40B4-BE49-F238E27FC236}">
                <a16:creationId xmlns:a16="http://schemas.microsoft.com/office/drawing/2014/main" id="{7F6BC365-BD10-407A-AB1A-25EAC6566671}"/>
              </a:ext>
            </a:extLst>
          </p:cNvPr>
          <p:cNvPicPr>
            <a:picLocks noChangeAspect="1"/>
          </p:cNvPicPr>
          <p:nvPr/>
        </p:nvPicPr>
        <p:blipFill>
          <a:blip r:embed="rId7"/>
          <a:stretch>
            <a:fillRect/>
          </a:stretch>
        </p:blipFill>
        <p:spPr>
          <a:xfrm>
            <a:off x="3255230" y="1712445"/>
            <a:ext cx="8318072" cy="4715000"/>
          </a:xfrm>
          <a:prstGeom prst="rect">
            <a:avLst/>
          </a:prstGeom>
        </p:spPr>
      </p:pic>
      <p:sp>
        <p:nvSpPr>
          <p:cNvPr id="8" name="TextBox 7">
            <a:extLst>
              <a:ext uri="{FF2B5EF4-FFF2-40B4-BE49-F238E27FC236}">
                <a16:creationId xmlns:a16="http://schemas.microsoft.com/office/drawing/2014/main" id="{320D124E-71A7-4C25-BA32-CB1329619A0A}"/>
              </a:ext>
            </a:extLst>
          </p:cNvPr>
          <p:cNvSpPr txBox="1"/>
          <p:nvPr/>
        </p:nvSpPr>
        <p:spPr>
          <a:xfrm>
            <a:off x="195338" y="6300597"/>
            <a:ext cx="4144650" cy="271574"/>
          </a:xfrm>
          <a:prstGeom prst="rect">
            <a:avLst/>
          </a:prstGeom>
          <a:noFill/>
        </p:spPr>
        <p:txBody>
          <a:bodyPr wrap="none" lIns="0" tIns="0" rIns="0" bIns="0" rtlCol="0">
            <a:noAutofit/>
          </a:bodyPr>
          <a:lstStyle/>
          <a:p>
            <a:pPr defTabSz="456758" fontAlgn="base">
              <a:spcBef>
                <a:spcPts val="1200"/>
              </a:spcBef>
            </a:pPr>
            <a:r>
              <a:rPr lang="en-US" sz="1000" dirty="0">
                <a:solidFill>
                  <a:srgbClr val="FF0000"/>
                </a:solidFill>
                <a:cs typeface="Open Sans Light"/>
              </a:rPr>
              <a:t>Note: APIs Are Application Interfaces, which can include EDI interfaces</a:t>
            </a:r>
          </a:p>
          <a:p>
            <a:pPr defTabSz="456758" fontAlgn="base">
              <a:spcBef>
                <a:spcPts val="1200"/>
              </a:spcBef>
            </a:pPr>
            <a:endParaRPr lang="en-US" sz="1000" dirty="0" err="1">
              <a:solidFill>
                <a:srgbClr val="FF0000"/>
              </a:solidFill>
              <a:cs typeface="Open Sans Light"/>
            </a:endParaRPr>
          </a:p>
        </p:txBody>
      </p:sp>
    </p:spTree>
    <p:extLst>
      <p:ext uri="{BB962C8B-B14F-4D97-AF65-F5344CB8AC3E}">
        <p14:creationId xmlns:p14="http://schemas.microsoft.com/office/powerpoint/2010/main" val="37258708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9CE60B-1C4C-4A5C-AA38-F1F1A64324AA}"/>
              </a:ext>
            </a:extLst>
          </p:cNvPr>
          <p:cNvSpPr>
            <a:spLocks noGrp="1"/>
          </p:cNvSpPr>
          <p:nvPr>
            <p:ph type="title"/>
          </p:nvPr>
        </p:nvSpPr>
        <p:spPr>
          <a:xfrm>
            <a:off x="330535" y="192475"/>
            <a:ext cx="9688623" cy="476805"/>
          </a:xfrm>
        </p:spPr>
        <p:txBody>
          <a:bodyPr/>
          <a:lstStyle/>
          <a:p>
            <a:r>
              <a:rPr lang="en-US" dirty="0"/>
              <a:t>Future State Clinical Platform</a:t>
            </a:r>
          </a:p>
        </p:txBody>
      </p:sp>
      <p:sp>
        <p:nvSpPr>
          <p:cNvPr id="3" name="Text Placeholder 2">
            <a:extLst>
              <a:ext uri="{FF2B5EF4-FFF2-40B4-BE49-F238E27FC236}">
                <a16:creationId xmlns:a16="http://schemas.microsoft.com/office/drawing/2014/main" id="{4F72B0BD-F5F1-4D84-A3BD-AA2EFCAA9102}"/>
              </a:ext>
            </a:extLst>
          </p:cNvPr>
          <p:cNvSpPr>
            <a:spLocks noGrp="1"/>
          </p:cNvSpPr>
          <p:nvPr>
            <p:ph type="body" sz="quarter" idx="11"/>
          </p:nvPr>
        </p:nvSpPr>
        <p:spPr>
          <a:xfrm>
            <a:off x="264001" y="927256"/>
            <a:ext cx="9688622" cy="375977"/>
          </a:xfrm>
        </p:spPr>
        <p:txBody>
          <a:bodyPr/>
          <a:lstStyle/>
          <a:p>
            <a:r>
              <a:rPr lang="en-US" sz="1800" dirty="0"/>
              <a:t>Integrate Epic, </a:t>
            </a:r>
            <a:r>
              <a:rPr lang="en-US" sz="1800" dirty="0" err="1"/>
              <a:t>MedCompass</a:t>
            </a:r>
            <a:r>
              <a:rPr lang="en-US" sz="1800" dirty="0"/>
              <a:t>, </a:t>
            </a:r>
            <a:r>
              <a:rPr lang="en-US" sz="1800" dirty="0" err="1"/>
              <a:t>DataLink</a:t>
            </a:r>
            <a:r>
              <a:rPr lang="en-US" sz="1800" dirty="0"/>
              <a:t>(</a:t>
            </a:r>
            <a:r>
              <a:rPr lang="en-US" sz="1800" dirty="0" err="1"/>
              <a:t>CareBook</a:t>
            </a:r>
            <a:r>
              <a:rPr lang="en-US" sz="1800" dirty="0"/>
              <a:t>), </a:t>
            </a:r>
            <a:r>
              <a:rPr lang="en-US" sz="1800" dirty="0" err="1"/>
              <a:t>RxConnect</a:t>
            </a:r>
            <a:r>
              <a:rPr lang="en-US" sz="1800" dirty="0"/>
              <a:t> and Availity to create a unified care journey</a:t>
            </a:r>
            <a:endParaRPr lang="en-US" sz="1800" kern="0" dirty="0">
              <a:cs typeface="Arial"/>
            </a:endParaRPr>
          </a:p>
          <a:p>
            <a:endParaRPr lang="en-US" dirty="0"/>
          </a:p>
        </p:txBody>
      </p:sp>
      <p:sp>
        <p:nvSpPr>
          <p:cNvPr id="5" name="Rectangle 4">
            <a:extLst>
              <a:ext uri="{FF2B5EF4-FFF2-40B4-BE49-F238E27FC236}">
                <a16:creationId xmlns:a16="http://schemas.microsoft.com/office/drawing/2014/main" id="{B5659705-6AAA-46C2-8A79-505F5BCE5088}"/>
              </a:ext>
            </a:extLst>
          </p:cNvPr>
          <p:cNvSpPr/>
          <p:nvPr/>
        </p:nvSpPr>
        <p:spPr>
          <a:xfrm>
            <a:off x="830292" y="1511967"/>
            <a:ext cx="10298222" cy="830997"/>
          </a:xfrm>
          <a:prstGeom prst="rect">
            <a:avLst/>
          </a:prstGeom>
        </p:spPr>
        <p:txBody>
          <a:bodyPr wrap="square">
            <a:spAutoFit/>
          </a:bodyPr>
          <a:lstStyle/>
          <a:p>
            <a:pPr marL="176213" lvl="0" indent="-176213">
              <a:buFont typeface="Arial" panose="020B0604020202020204" pitchFamily="34" charset="0"/>
              <a:buChar char="•"/>
              <a:defRPr/>
            </a:pPr>
            <a:r>
              <a:rPr lang="en-US" sz="1600" dirty="0">
                <a:solidFill>
                  <a:srgbClr val="064E69"/>
                </a:solidFill>
                <a:cs typeface="Arial"/>
              </a:rPr>
              <a:t>Insurance (Aetna) investing in </a:t>
            </a:r>
            <a:r>
              <a:rPr lang="en-US" sz="1600" dirty="0" err="1">
                <a:solidFill>
                  <a:srgbClr val="064E69"/>
                </a:solidFill>
                <a:cs typeface="Arial"/>
              </a:rPr>
              <a:t>MedCompass</a:t>
            </a:r>
            <a:r>
              <a:rPr lang="en-US" sz="1600" dirty="0">
                <a:solidFill>
                  <a:srgbClr val="064E69"/>
                </a:solidFill>
                <a:cs typeface="Arial"/>
              </a:rPr>
              <a:t> – migrating many clinical systems to one platform</a:t>
            </a:r>
          </a:p>
          <a:p>
            <a:pPr marL="176213" lvl="0" indent="-176213">
              <a:buFont typeface="Arial" panose="020B0604020202020204" pitchFamily="34" charset="0"/>
              <a:buChar char="•"/>
              <a:defRPr/>
            </a:pPr>
            <a:r>
              <a:rPr lang="en-US" sz="1600" dirty="0">
                <a:solidFill>
                  <a:srgbClr val="064E69"/>
                </a:solidFill>
                <a:cs typeface="Arial"/>
              </a:rPr>
              <a:t>Clinic and Retail investing in Epic – clinical function pockets in other systems (</a:t>
            </a:r>
            <a:r>
              <a:rPr lang="en-US" sz="1600" dirty="0" err="1">
                <a:solidFill>
                  <a:srgbClr val="064E69"/>
                </a:solidFill>
                <a:cs typeface="Arial"/>
              </a:rPr>
              <a:t>RxConnect</a:t>
            </a:r>
            <a:r>
              <a:rPr lang="en-US" sz="1600" dirty="0">
                <a:solidFill>
                  <a:srgbClr val="064E69"/>
                </a:solidFill>
                <a:cs typeface="Arial"/>
              </a:rPr>
              <a:t>)</a:t>
            </a:r>
          </a:p>
          <a:p>
            <a:pPr marL="176213" lvl="0" indent="-176213">
              <a:buFont typeface="Arial" panose="020B0604020202020204" pitchFamily="34" charset="0"/>
              <a:buChar char="•"/>
              <a:defRPr/>
            </a:pPr>
            <a:r>
              <a:rPr lang="en-US" sz="1600" dirty="0">
                <a:solidFill>
                  <a:srgbClr val="064E69"/>
                </a:solidFill>
                <a:cs typeface="Arial"/>
              </a:rPr>
              <a:t>Provider Contracting investing in </a:t>
            </a:r>
            <a:r>
              <a:rPr lang="en-US" sz="1600" dirty="0" err="1">
                <a:solidFill>
                  <a:srgbClr val="064E69"/>
                </a:solidFill>
                <a:cs typeface="Arial"/>
              </a:rPr>
              <a:t>DataLink</a:t>
            </a:r>
            <a:r>
              <a:rPr lang="en-US" sz="1600" dirty="0">
                <a:solidFill>
                  <a:srgbClr val="064E69"/>
                </a:solidFill>
                <a:cs typeface="Arial"/>
              </a:rPr>
              <a:t>(</a:t>
            </a:r>
            <a:r>
              <a:rPr lang="en-US" sz="1600" dirty="0" err="1">
                <a:solidFill>
                  <a:srgbClr val="064E69"/>
                </a:solidFill>
                <a:cs typeface="Arial"/>
              </a:rPr>
              <a:t>CareBook</a:t>
            </a:r>
            <a:r>
              <a:rPr lang="en-US" sz="1600" dirty="0">
                <a:solidFill>
                  <a:srgbClr val="064E69"/>
                </a:solidFill>
                <a:cs typeface="Arial"/>
              </a:rPr>
              <a:t>) for Value-Base contracting </a:t>
            </a:r>
          </a:p>
        </p:txBody>
      </p:sp>
      <p:grpSp>
        <p:nvGrpSpPr>
          <p:cNvPr id="7" name="Group 6">
            <a:extLst>
              <a:ext uri="{FF2B5EF4-FFF2-40B4-BE49-F238E27FC236}">
                <a16:creationId xmlns:a16="http://schemas.microsoft.com/office/drawing/2014/main" id="{19D7D92E-AA25-47A0-A26A-5062D98D857E}"/>
              </a:ext>
            </a:extLst>
          </p:cNvPr>
          <p:cNvGrpSpPr/>
          <p:nvPr/>
        </p:nvGrpSpPr>
        <p:grpSpPr>
          <a:xfrm>
            <a:off x="733668" y="3216349"/>
            <a:ext cx="9218955" cy="1193679"/>
            <a:chOff x="-2267036" y="2080228"/>
            <a:chExt cx="12484098" cy="1591570"/>
          </a:xfrm>
        </p:grpSpPr>
        <p:sp>
          <p:nvSpPr>
            <p:cNvPr id="9" name="Rectangle 8">
              <a:extLst>
                <a:ext uri="{FF2B5EF4-FFF2-40B4-BE49-F238E27FC236}">
                  <a16:creationId xmlns:a16="http://schemas.microsoft.com/office/drawing/2014/main" id="{1C6A1534-16E7-4A1E-9E59-F9BBB14FDA02}"/>
                </a:ext>
              </a:extLst>
            </p:cNvPr>
            <p:cNvSpPr/>
            <p:nvPr/>
          </p:nvSpPr>
          <p:spPr>
            <a:xfrm>
              <a:off x="6723494" y="3323140"/>
              <a:ext cx="1730476" cy="348658"/>
            </a:xfrm>
            <a:prstGeom prst="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latin typeface="+mj-lt"/>
                  <a:cs typeface="Open Sans Bold"/>
                </a:rPr>
                <a:t>Epic</a:t>
              </a:r>
            </a:p>
          </p:txBody>
        </p:sp>
        <p:sp>
          <p:nvSpPr>
            <p:cNvPr id="10" name="Rectangle: Rounded Corners 9">
              <a:extLst>
                <a:ext uri="{FF2B5EF4-FFF2-40B4-BE49-F238E27FC236}">
                  <a16:creationId xmlns:a16="http://schemas.microsoft.com/office/drawing/2014/main" id="{1DAF0BEE-EAF0-421A-B8E1-B54BD9182FA9}"/>
                </a:ext>
              </a:extLst>
            </p:cNvPr>
            <p:cNvSpPr/>
            <p:nvPr/>
          </p:nvSpPr>
          <p:spPr>
            <a:xfrm>
              <a:off x="8562432" y="2096312"/>
              <a:ext cx="1654630" cy="707572"/>
            </a:xfrm>
            <a:prstGeom prst="round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latin typeface="+mj-lt"/>
                  <a:cs typeface="Open Sans Bold"/>
                </a:rPr>
                <a:t>Clinic</a:t>
              </a:r>
            </a:p>
          </p:txBody>
        </p:sp>
        <p:sp>
          <p:nvSpPr>
            <p:cNvPr id="11" name="Rectangle: Rounded Corners 10">
              <a:extLst>
                <a:ext uri="{FF2B5EF4-FFF2-40B4-BE49-F238E27FC236}">
                  <a16:creationId xmlns:a16="http://schemas.microsoft.com/office/drawing/2014/main" id="{8C0D966D-191D-49CE-B5C7-0F8F27FB894C}"/>
                </a:ext>
              </a:extLst>
            </p:cNvPr>
            <p:cNvSpPr/>
            <p:nvPr/>
          </p:nvSpPr>
          <p:spPr>
            <a:xfrm>
              <a:off x="-2267036" y="2080228"/>
              <a:ext cx="1877051" cy="707572"/>
            </a:xfrm>
            <a:prstGeom prst="round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latin typeface="+mj-lt"/>
                  <a:cs typeface="Open Sans Bold"/>
                </a:rPr>
                <a:t>Case</a:t>
              </a:r>
            </a:p>
            <a:p>
              <a:pPr algn="ctr"/>
              <a:r>
                <a:rPr lang="en-US" sz="1350" dirty="0">
                  <a:latin typeface="+mj-lt"/>
                  <a:cs typeface="Open Sans Bold"/>
                </a:rPr>
                <a:t>Management</a:t>
              </a:r>
            </a:p>
          </p:txBody>
        </p:sp>
      </p:grpSp>
      <p:sp>
        <p:nvSpPr>
          <p:cNvPr id="12" name="Rectangle 11">
            <a:extLst>
              <a:ext uri="{FF2B5EF4-FFF2-40B4-BE49-F238E27FC236}">
                <a16:creationId xmlns:a16="http://schemas.microsoft.com/office/drawing/2014/main" id="{D7989683-9354-4964-8A5D-1C0ABA5970A8}"/>
              </a:ext>
            </a:extLst>
          </p:cNvPr>
          <p:cNvSpPr/>
          <p:nvPr/>
        </p:nvSpPr>
        <p:spPr>
          <a:xfrm>
            <a:off x="1707619" y="4165394"/>
            <a:ext cx="1918133" cy="241180"/>
          </a:xfrm>
          <a:prstGeom prst="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err="1">
                <a:latin typeface="+mj-lt"/>
                <a:cs typeface="Open Sans Bold"/>
              </a:rPr>
              <a:t>MedCompass</a:t>
            </a:r>
            <a:endParaRPr lang="en-US" sz="1350" dirty="0">
              <a:latin typeface="+mj-lt"/>
              <a:cs typeface="Open Sans Bold"/>
            </a:endParaRPr>
          </a:p>
        </p:txBody>
      </p:sp>
      <p:sp>
        <p:nvSpPr>
          <p:cNvPr id="16" name="Freeform 24">
            <a:extLst>
              <a:ext uri="{FF2B5EF4-FFF2-40B4-BE49-F238E27FC236}">
                <a16:creationId xmlns:a16="http://schemas.microsoft.com/office/drawing/2014/main" id="{F83F80DE-E1AA-4B9A-9961-D167AEA2D556}"/>
              </a:ext>
            </a:extLst>
          </p:cNvPr>
          <p:cNvSpPr>
            <a:spLocks noEditPoints="1"/>
          </p:cNvSpPr>
          <p:nvPr/>
        </p:nvSpPr>
        <p:spPr bwMode="auto">
          <a:xfrm>
            <a:off x="7804081" y="2615573"/>
            <a:ext cx="336598" cy="220932"/>
          </a:xfrm>
          <a:custGeom>
            <a:avLst/>
            <a:gdLst/>
            <a:ahLst/>
            <a:cxnLst>
              <a:cxn ang="0">
                <a:pos x="231" y="141"/>
              </a:cxn>
              <a:cxn ang="0">
                <a:pos x="206" y="82"/>
              </a:cxn>
              <a:cxn ang="0">
                <a:pos x="217" y="156"/>
              </a:cxn>
              <a:cxn ang="0">
                <a:pos x="210" y="168"/>
              </a:cxn>
              <a:cxn ang="0">
                <a:pos x="208" y="165"/>
              </a:cxn>
              <a:cxn ang="0">
                <a:pos x="157" y="137"/>
              </a:cxn>
              <a:cxn ang="0">
                <a:pos x="141" y="71"/>
              </a:cxn>
              <a:cxn ang="0">
                <a:pos x="144" y="62"/>
              </a:cxn>
              <a:cxn ang="0">
                <a:pos x="201" y="48"/>
              </a:cxn>
              <a:cxn ang="0">
                <a:pos x="219" y="62"/>
              </a:cxn>
              <a:cxn ang="0">
                <a:pos x="234" y="141"/>
              </a:cxn>
              <a:cxn ang="0">
                <a:pos x="170" y="198"/>
              </a:cxn>
              <a:cxn ang="0">
                <a:pos x="164" y="242"/>
              </a:cxn>
              <a:cxn ang="0">
                <a:pos x="81" y="242"/>
              </a:cxn>
              <a:cxn ang="0">
                <a:pos x="75" y="198"/>
              </a:cxn>
              <a:cxn ang="0">
                <a:pos x="40" y="219"/>
              </a:cxn>
              <a:cxn ang="0">
                <a:pos x="48" y="169"/>
              </a:cxn>
              <a:cxn ang="0">
                <a:pos x="104" y="149"/>
              </a:cxn>
              <a:cxn ang="0">
                <a:pos x="141" y="149"/>
              </a:cxn>
              <a:cxn ang="0">
                <a:pos x="196" y="169"/>
              </a:cxn>
              <a:cxn ang="0">
                <a:pos x="204" y="219"/>
              </a:cxn>
              <a:cxn ang="0">
                <a:pos x="35" y="169"/>
              </a:cxn>
              <a:cxn ang="0">
                <a:pos x="36" y="80"/>
              </a:cxn>
              <a:cxn ang="0">
                <a:pos x="21" y="131"/>
              </a:cxn>
              <a:cxn ang="0">
                <a:pos x="9" y="140"/>
              </a:cxn>
              <a:cxn ang="0">
                <a:pos x="12" y="61"/>
              </a:cxn>
              <a:cxn ang="0">
                <a:pos x="31" y="47"/>
              </a:cxn>
              <a:cxn ang="0">
                <a:pos x="62" y="69"/>
              </a:cxn>
              <a:cxn ang="0">
                <a:pos x="94" y="47"/>
              </a:cxn>
              <a:cxn ang="0">
                <a:pos x="113" y="61"/>
              </a:cxn>
              <a:cxn ang="0">
                <a:pos x="91" y="80"/>
              </a:cxn>
              <a:cxn ang="0">
                <a:pos x="90" y="81"/>
              </a:cxn>
              <a:cxn ang="0">
                <a:pos x="87" y="137"/>
              </a:cxn>
              <a:cxn ang="0">
                <a:pos x="36" y="165"/>
              </a:cxn>
              <a:cxn ang="0">
                <a:pos x="62" y="0"/>
              </a:cxn>
              <a:cxn ang="0">
                <a:pos x="62" y="40"/>
              </a:cxn>
              <a:cxn ang="0">
                <a:pos x="62" y="0"/>
              </a:cxn>
              <a:cxn ang="0">
                <a:pos x="154" y="110"/>
              </a:cxn>
              <a:cxn ang="0">
                <a:pos x="91" y="110"/>
              </a:cxn>
              <a:cxn ang="0">
                <a:pos x="182" y="0"/>
              </a:cxn>
              <a:cxn ang="0">
                <a:pos x="182" y="40"/>
              </a:cxn>
              <a:cxn ang="0">
                <a:pos x="182" y="0"/>
              </a:cxn>
            </a:cxnLst>
            <a:rect l="0" t="0" r="r" b="b"/>
            <a:pathLst>
              <a:path w="241" h="248">
                <a:moveTo>
                  <a:pt x="234" y="141"/>
                </a:moveTo>
                <a:cubicBezTo>
                  <a:pt x="233" y="141"/>
                  <a:pt x="232" y="141"/>
                  <a:pt x="231" y="141"/>
                </a:cubicBezTo>
                <a:cubicBezTo>
                  <a:pt x="227" y="141"/>
                  <a:pt x="223" y="139"/>
                  <a:pt x="222" y="134"/>
                </a:cubicBezTo>
                <a:cubicBezTo>
                  <a:pt x="206" y="82"/>
                  <a:pt x="206" y="82"/>
                  <a:pt x="206" y="82"/>
                </a:cubicBezTo>
                <a:cubicBezTo>
                  <a:pt x="198" y="82"/>
                  <a:pt x="198" y="82"/>
                  <a:pt x="198" y="82"/>
                </a:cubicBezTo>
                <a:cubicBezTo>
                  <a:pt x="217" y="156"/>
                  <a:pt x="217" y="156"/>
                  <a:pt x="217" y="156"/>
                </a:cubicBezTo>
                <a:cubicBezTo>
                  <a:pt x="218" y="157"/>
                  <a:pt x="218" y="158"/>
                  <a:pt x="218" y="160"/>
                </a:cubicBezTo>
                <a:cubicBezTo>
                  <a:pt x="218" y="164"/>
                  <a:pt x="214" y="168"/>
                  <a:pt x="210" y="168"/>
                </a:cubicBezTo>
                <a:cubicBezTo>
                  <a:pt x="209" y="168"/>
                  <a:pt x="209" y="168"/>
                  <a:pt x="209" y="168"/>
                </a:cubicBezTo>
                <a:cubicBezTo>
                  <a:pt x="208" y="167"/>
                  <a:pt x="208" y="166"/>
                  <a:pt x="208" y="165"/>
                </a:cubicBezTo>
                <a:cubicBezTo>
                  <a:pt x="203" y="148"/>
                  <a:pt x="186" y="137"/>
                  <a:pt x="168" y="137"/>
                </a:cubicBezTo>
                <a:cubicBezTo>
                  <a:pt x="157" y="137"/>
                  <a:pt x="157" y="137"/>
                  <a:pt x="157" y="137"/>
                </a:cubicBezTo>
                <a:cubicBezTo>
                  <a:pt x="163" y="129"/>
                  <a:pt x="166" y="120"/>
                  <a:pt x="166" y="110"/>
                </a:cubicBezTo>
                <a:cubicBezTo>
                  <a:pt x="166" y="93"/>
                  <a:pt x="156" y="78"/>
                  <a:pt x="141" y="71"/>
                </a:cubicBezTo>
                <a:cubicBezTo>
                  <a:pt x="144" y="62"/>
                  <a:pt x="144" y="62"/>
                  <a:pt x="144" y="62"/>
                </a:cubicBezTo>
                <a:cubicBezTo>
                  <a:pt x="144" y="62"/>
                  <a:pt x="144" y="62"/>
                  <a:pt x="144" y="62"/>
                </a:cubicBezTo>
                <a:cubicBezTo>
                  <a:pt x="147" y="53"/>
                  <a:pt x="154" y="48"/>
                  <a:pt x="162" y="48"/>
                </a:cubicBezTo>
                <a:cubicBezTo>
                  <a:pt x="201" y="48"/>
                  <a:pt x="201" y="48"/>
                  <a:pt x="201" y="48"/>
                </a:cubicBezTo>
                <a:cubicBezTo>
                  <a:pt x="209" y="48"/>
                  <a:pt x="216" y="53"/>
                  <a:pt x="219" y="62"/>
                </a:cubicBezTo>
                <a:cubicBezTo>
                  <a:pt x="219" y="62"/>
                  <a:pt x="219" y="62"/>
                  <a:pt x="219" y="62"/>
                </a:cubicBezTo>
                <a:cubicBezTo>
                  <a:pt x="240" y="129"/>
                  <a:pt x="240" y="129"/>
                  <a:pt x="240" y="129"/>
                </a:cubicBezTo>
                <a:cubicBezTo>
                  <a:pt x="241" y="134"/>
                  <a:pt x="238" y="139"/>
                  <a:pt x="234" y="141"/>
                </a:cubicBezTo>
                <a:close/>
                <a:moveTo>
                  <a:pt x="176" y="237"/>
                </a:moveTo>
                <a:cubicBezTo>
                  <a:pt x="170" y="198"/>
                  <a:pt x="170" y="198"/>
                  <a:pt x="170" y="198"/>
                </a:cubicBezTo>
                <a:cubicBezTo>
                  <a:pt x="162" y="198"/>
                  <a:pt x="162" y="198"/>
                  <a:pt x="162" y="198"/>
                </a:cubicBezTo>
                <a:cubicBezTo>
                  <a:pt x="164" y="242"/>
                  <a:pt x="164" y="242"/>
                  <a:pt x="164" y="242"/>
                </a:cubicBezTo>
                <a:cubicBezTo>
                  <a:pt x="151" y="246"/>
                  <a:pt x="137" y="248"/>
                  <a:pt x="122" y="248"/>
                </a:cubicBezTo>
                <a:cubicBezTo>
                  <a:pt x="108" y="248"/>
                  <a:pt x="94" y="246"/>
                  <a:pt x="81" y="242"/>
                </a:cubicBezTo>
                <a:cubicBezTo>
                  <a:pt x="83" y="198"/>
                  <a:pt x="83" y="198"/>
                  <a:pt x="83" y="198"/>
                </a:cubicBezTo>
                <a:cubicBezTo>
                  <a:pt x="75" y="198"/>
                  <a:pt x="75" y="198"/>
                  <a:pt x="75" y="198"/>
                </a:cubicBezTo>
                <a:cubicBezTo>
                  <a:pt x="67" y="237"/>
                  <a:pt x="67" y="237"/>
                  <a:pt x="67" y="237"/>
                </a:cubicBezTo>
                <a:cubicBezTo>
                  <a:pt x="57" y="232"/>
                  <a:pt x="48" y="226"/>
                  <a:pt x="40" y="219"/>
                </a:cubicBezTo>
                <a:cubicBezTo>
                  <a:pt x="48" y="171"/>
                  <a:pt x="48" y="171"/>
                  <a:pt x="48" y="171"/>
                </a:cubicBezTo>
                <a:cubicBezTo>
                  <a:pt x="48" y="170"/>
                  <a:pt x="48" y="169"/>
                  <a:pt x="48" y="169"/>
                </a:cubicBezTo>
                <a:cubicBezTo>
                  <a:pt x="52" y="157"/>
                  <a:pt x="63" y="149"/>
                  <a:pt x="77" y="149"/>
                </a:cubicBezTo>
                <a:cubicBezTo>
                  <a:pt x="104" y="149"/>
                  <a:pt x="104" y="149"/>
                  <a:pt x="104" y="149"/>
                </a:cubicBezTo>
                <a:cubicBezTo>
                  <a:pt x="123" y="182"/>
                  <a:pt x="123" y="182"/>
                  <a:pt x="123" y="182"/>
                </a:cubicBezTo>
                <a:cubicBezTo>
                  <a:pt x="141" y="149"/>
                  <a:pt x="141" y="149"/>
                  <a:pt x="141" y="149"/>
                </a:cubicBezTo>
                <a:cubicBezTo>
                  <a:pt x="168" y="149"/>
                  <a:pt x="168" y="149"/>
                  <a:pt x="168" y="149"/>
                </a:cubicBezTo>
                <a:cubicBezTo>
                  <a:pt x="181" y="149"/>
                  <a:pt x="192" y="157"/>
                  <a:pt x="196" y="169"/>
                </a:cubicBezTo>
                <a:cubicBezTo>
                  <a:pt x="196" y="169"/>
                  <a:pt x="196" y="170"/>
                  <a:pt x="196" y="171"/>
                </a:cubicBezTo>
                <a:cubicBezTo>
                  <a:pt x="204" y="219"/>
                  <a:pt x="204" y="219"/>
                  <a:pt x="204" y="219"/>
                </a:cubicBezTo>
                <a:cubicBezTo>
                  <a:pt x="196" y="226"/>
                  <a:pt x="186" y="232"/>
                  <a:pt x="176" y="237"/>
                </a:cubicBezTo>
                <a:close/>
                <a:moveTo>
                  <a:pt x="35" y="169"/>
                </a:moveTo>
                <a:cubicBezTo>
                  <a:pt x="34" y="174"/>
                  <a:pt x="34" y="174"/>
                  <a:pt x="34" y="174"/>
                </a:cubicBezTo>
                <a:cubicBezTo>
                  <a:pt x="36" y="80"/>
                  <a:pt x="36" y="80"/>
                  <a:pt x="36" y="80"/>
                </a:cubicBezTo>
                <a:cubicBezTo>
                  <a:pt x="30" y="80"/>
                  <a:pt x="30" y="80"/>
                  <a:pt x="30" y="80"/>
                </a:cubicBezTo>
                <a:cubicBezTo>
                  <a:pt x="21" y="131"/>
                  <a:pt x="21" y="131"/>
                  <a:pt x="21" y="131"/>
                </a:cubicBezTo>
                <a:cubicBezTo>
                  <a:pt x="20" y="136"/>
                  <a:pt x="16" y="140"/>
                  <a:pt x="11" y="140"/>
                </a:cubicBezTo>
                <a:cubicBezTo>
                  <a:pt x="11" y="140"/>
                  <a:pt x="10" y="140"/>
                  <a:pt x="9" y="140"/>
                </a:cubicBezTo>
                <a:cubicBezTo>
                  <a:pt x="4" y="139"/>
                  <a:pt x="0" y="133"/>
                  <a:pt x="1" y="128"/>
                </a:cubicBezTo>
                <a:cubicBezTo>
                  <a:pt x="12" y="61"/>
                  <a:pt x="12" y="61"/>
                  <a:pt x="12" y="61"/>
                </a:cubicBezTo>
                <a:cubicBezTo>
                  <a:pt x="12" y="60"/>
                  <a:pt x="12" y="60"/>
                  <a:pt x="12" y="60"/>
                </a:cubicBezTo>
                <a:cubicBezTo>
                  <a:pt x="15" y="52"/>
                  <a:pt x="23" y="47"/>
                  <a:pt x="31" y="47"/>
                </a:cubicBezTo>
                <a:cubicBezTo>
                  <a:pt x="49" y="47"/>
                  <a:pt x="49" y="47"/>
                  <a:pt x="49" y="47"/>
                </a:cubicBezTo>
                <a:cubicBezTo>
                  <a:pt x="62" y="69"/>
                  <a:pt x="62" y="69"/>
                  <a:pt x="62" y="69"/>
                </a:cubicBezTo>
                <a:cubicBezTo>
                  <a:pt x="76" y="47"/>
                  <a:pt x="76" y="47"/>
                  <a:pt x="76" y="47"/>
                </a:cubicBezTo>
                <a:cubicBezTo>
                  <a:pt x="94" y="47"/>
                  <a:pt x="94" y="47"/>
                  <a:pt x="94" y="47"/>
                </a:cubicBezTo>
                <a:cubicBezTo>
                  <a:pt x="103" y="47"/>
                  <a:pt x="110" y="52"/>
                  <a:pt x="113" y="60"/>
                </a:cubicBezTo>
                <a:cubicBezTo>
                  <a:pt x="113" y="61"/>
                  <a:pt x="113" y="61"/>
                  <a:pt x="113" y="61"/>
                </a:cubicBezTo>
                <a:cubicBezTo>
                  <a:pt x="114" y="67"/>
                  <a:pt x="114" y="67"/>
                  <a:pt x="114" y="67"/>
                </a:cubicBezTo>
                <a:cubicBezTo>
                  <a:pt x="105" y="69"/>
                  <a:pt x="97" y="73"/>
                  <a:pt x="91" y="80"/>
                </a:cubicBezTo>
                <a:cubicBezTo>
                  <a:pt x="90" y="80"/>
                  <a:pt x="90" y="80"/>
                  <a:pt x="90" y="80"/>
                </a:cubicBezTo>
                <a:cubicBezTo>
                  <a:pt x="90" y="81"/>
                  <a:pt x="90" y="81"/>
                  <a:pt x="90" y="81"/>
                </a:cubicBezTo>
                <a:cubicBezTo>
                  <a:pt x="83" y="88"/>
                  <a:pt x="79" y="99"/>
                  <a:pt x="79" y="110"/>
                </a:cubicBezTo>
                <a:cubicBezTo>
                  <a:pt x="79" y="120"/>
                  <a:pt x="82" y="129"/>
                  <a:pt x="87" y="137"/>
                </a:cubicBezTo>
                <a:cubicBezTo>
                  <a:pt x="77" y="137"/>
                  <a:pt x="77" y="137"/>
                  <a:pt x="77" y="137"/>
                </a:cubicBezTo>
                <a:cubicBezTo>
                  <a:pt x="58" y="137"/>
                  <a:pt x="41" y="148"/>
                  <a:pt x="36" y="165"/>
                </a:cubicBezTo>
                <a:cubicBezTo>
                  <a:pt x="36" y="166"/>
                  <a:pt x="35" y="167"/>
                  <a:pt x="35" y="169"/>
                </a:cubicBezTo>
                <a:close/>
                <a:moveTo>
                  <a:pt x="62" y="0"/>
                </a:moveTo>
                <a:cubicBezTo>
                  <a:pt x="74" y="0"/>
                  <a:pt x="83" y="9"/>
                  <a:pt x="83" y="20"/>
                </a:cubicBezTo>
                <a:cubicBezTo>
                  <a:pt x="83" y="31"/>
                  <a:pt x="74" y="40"/>
                  <a:pt x="62" y="40"/>
                </a:cubicBezTo>
                <a:cubicBezTo>
                  <a:pt x="51" y="40"/>
                  <a:pt x="42" y="31"/>
                  <a:pt x="42" y="20"/>
                </a:cubicBezTo>
                <a:cubicBezTo>
                  <a:pt x="42" y="9"/>
                  <a:pt x="51" y="0"/>
                  <a:pt x="62" y="0"/>
                </a:cubicBezTo>
                <a:close/>
                <a:moveTo>
                  <a:pt x="122" y="79"/>
                </a:moveTo>
                <a:cubicBezTo>
                  <a:pt x="140" y="79"/>
                  <a:pt x="154" y="93"/>
                  <a:pt x="154" y="110"/>
                </a:cubicBezTo>
                <a:cubicBezTo>
                  <a:pt x="154" y="127"/>
                  <a:pt x="140" y="141"/>
                  <a:pt x="122" y="141"/>
                </a:cubicBezTo>
                <a:cubicBezTo>
                  <a:pt x="105" y="141"/>
                  <a:pt x="91" y="127"/>
                  <a:pt x="91" y="110"/>
                </a:cubicBezTo>
                <a:cubicBezTo>
                  <a:pt x="91" y="93"/>
                  <a:pt x="105" y="79"/>
                  <a:pt x="122" y="79"/>
                </a:cubicBezTo>
                <a:close/>
                <a:moveTo>
                  <a:pt x="182" y="0"/>
                </a:moveTo>
                <a:cubicBezTo>
                  <a:pt x="193" y="0"/>
                  <a:pt x="201" y="9"/>
                  <a:pt x="201" y="20"/>
                </a:cubicBezTo>
                <a:cubicBezTo>
                  <a:pt x="201" y="31"/>
                  <a:pt x="193" y="40"/>
                  <a:pt x="182" y="40"/>
                </a:cubicBezTo>
                <a:cubicBezTo>
                  <a:pt x="171" y="40"/>
                  <a:pt x="162" y="31"/>
                  <a:pt x="162" y="20"/>
                </a:cubicBezTo>
                <a:cubicBezTo>
                  <a:pt x="162" y="9"/>
                  <a:pt x="171" y="0"/>
                  <a:pt x="182" y="0"/>
                </a:cubicBezTo>
                <a:close/>
              </a:path>
            </a:pathLst>
          </a:custGeom>
          <a:solidFill>
            <a:srgbClr val="003C54"/>
          </a:solidFill>
          <a:ln w="9525">
            <a:noFill/>
            <a:round/>
            <a:headEnd/>
            <a:tailEnd/>
          </a:ln>
        </p:spPr>
        <p:txBody>
          <a:bodyPr vert="horz" wrap="square" lIns="75613" tIns="37806" rIns="75613" bIns="37806" numCol="1" anchor="t" anchorCtr="0" compatLnSpc="1">
            <a:prstTxWarp prst="textNoShape">
              <a:avLst/>
            </a:prstTxWarp>
          </a:bodyPr>
          <a:lstStyle/>
          <a:p>
            <a:endParaRPr lang="en-US" sz="1654">
              <a:latin typeface="Arial" panose="020B0604020202020204" pitchFamily="34" charset="0"/>
              <a:cs typeface="Arial" panose="020B0604020202020204" pitchFamily="34" charset="0"/>
              <a:sym typeface="Arial" panose="020B0604020202020204" pitchFamily="34" charset="0"/>
            </a:endParaRPr>
          </a:p>
        </p:txBody>
      </p:sp>
      <p:sp>
        <p:nvSpPr>
          <p:cNvPr id="17" name="TextBox 16">
            <a:extLst>
              <a:ext uri="{FF2B5EF4-FFF2-40B4-BE49-F238E27FC236}">
                <a16:creationId xmlns:a16="http://schemas.microsoft.com/office/drawing/2014/main" id="{28F23749-AD33-4FE1-8613-F363B558C397}"/>
              </a:ext>
            </a:extLst>
          </p:cNvPr>
          <p:cNvSpPr txBox="1"/>
          <p:nvPr/>
        </p:nvSpPr>
        <p:spPr>
          <a:xfrm>
            <a:off x="7683879" y="2867215"/>
            <a:ext cx="655677" cy="132737"/>
          </a:xfrm>
          <a:prstGeom prst="rect">
            <a:avLst/>
          </a:prstGeom>
          <a:solidFill>
            <a:schemeClr val="bg1"/>
          </a:solidFill>
        </p:spPr>
        <p:txBody>
          <a:bodyPr wrap="square" lIns="0" tIns="0" rIns="0" bIns="0" rtlCol="0">
            <a:noAutofit/>
          </a:bodyPr>
          <a:lstStyle/>
          <a:p>
            <a:pPr defTabSz="342569" fontAlgn="base">
              <a:spcBef>
                <a:spcPts val="900"/>
              </a:spcBef>
            </a:pPr>
            <a:r>
              <a:rPr lang="en-US" sz="900" dirty="0">
                <a:solidFill>
                  <a:srgbClr val="064E69"/>
                </a:solidFill>
                <a:cs typeface="Open Sans Light"/>
              </a:rPr>
              <a:t>Pharmacists</a:t>
            </a:r>
          </a:p>
        </p:txBody>
      </p:sp>
      <p:sp>
        <p:nvSpPr>
          <p:cNvPr id="18" name="Freeform 24">
            <a:extLst>
              <a:ext uri="{FF2B5EF4-FFF2-40B4-BE49-F238E27FC236}">
                <a16:creationId xmlns:a16="http://schemas.microsoft.com/office/drawing/2014/main" id="{0D7768A9-271A-4EB0-A19C-96337F2FDFDD}"/>
              </a:ext>
            </a:extLst>
          </p:cNvPr>
          <p:cNvSpPr>
            <a:spLocks noEditPoints="1"/>
          </p:cNvSpPr>
          <p:nvPr/>
        </p:nvSpPr>
        <p:spPr bwMode="auto">
          <a:xfrm>
            <a:off x="6507481" y="2606552"/>
            <a:ext cx="336598" cy="220932"/>
          </a:xfrm>
          <a:custGeom>
            <a:avLst/>
            <a:gdLst/>
            <a:ahLst/>
            <a:cxnLst>
              <a:cxn ang="0">
                <a:pos x="231" y="141"/>
              </a:cxn>
              <a:cxn ang="0">
                <a:pos x="206" y="82"/>
              </a:cxn>
              <a:cxn ang="0">
                <a:pos x="217" y="156"/>
              </a:cxn>
              <a:cxn ang="0">
                <a:pos x="210" y="168"/>
              </a:cxn>
              <a:cxn ang="0">
                <a:pos x="208" y="165"/>
              </a:cxn>
              <a:cxn ang="0">
                <a:pos x="157" y="137"/>
              </a:cxn>
              <a:cxn ang="0">
                <a:pos x="141" y="71"/>
              </a:cxn>
              <a:cxn ang="0">
                <a:pos x="144" y="62"/>
              </a:cxn>
              <a:cxn ang="0">
                <a:pos x="201" y="48"/>
              </a:cxn>
              <a:cxn ang="0">
                <a:pos x="219" y="62"/>
              </a:cxn>
              <a:cxn ang="0">
                <a:pos x="234" y="141"/>
              </a:cxn>
              <a:cxn ang="0">
                <a:pos x="170" y="198"/>
              </a:cxn>
              <a:cxn ang="0">
                <a:pos x="164" y="242"/>
              </a:cxn>
              <a:cxn ang="0">
                <a:pos x="81" y="242"/>
              </a:cxn>
              <a:cxn ang="0">
                <a:pos x="75" y="198"/>
              </a:cxn>
              <a:cxn ang="0">
                <a:pos x="40" y="219"/>
              </a:cxn>
              <a:cxn ang="0">
                <a:pos x="48" y="169"/>
              </a:cxn>
              <a:cxn ang="0">
                <a:pos x="104" y="149"/>
              </a:cxn>
              <a:cxn ang="0">
                <a:pos x="141" y="149"/>
              </a:cxn>
              <a:cxn ang="0">
                <a:pos x="196" y="169"/>
              </a:cxn>
              <a:cxn ang="0">
                <a:pos x="204" y="219"/>
              </a:cxn>
              <a:cxn ang="0">
                <a:pos x="35" y="169"/>
              </a:cxn>
              <a:cxn ang="0">
                <a:pos x="36" y="80"/>
              </a:cxn>
              <a:cxn ang="0">
                <a:pos x="21" y="131"/>
              </a:cxn>
              <a:cxn ang="0">
                <a:pos x="9" y="140"/>
              </a:cxn>
              <a:cxn ang="0">
                <a:pos x="12" y="61"/>
              </a:cxn>
              <a:cxn ang="0">
                <a:pos x="31" y="47"/>
              </a:cxn>
              <a:cxn ang="0">
                <a:pos x="62" y="69"/>
              </a:cxn>
              <a:cxn ang="0">
                <a:pos x="94" y="47"/>
              </a:cxn>
              <a:cxn ang="0">
                <a:pos x="113" y="61"/>
              </a:cxn>
              <a:cxn ang="0">
                <a:pos x="91" y="80"/>
              </a:cxn>
              <a:cxn ang="0">
                <a:pos x="90" y="81"/>
              </a:cxn>
              <a:cxn ang="0">
                <a:pos x="87" y="137"/>
              </a:cxn>
              <a:cxn ang="0">
                <a:pos x="36" y="165"/>
              </a:cxn>
              <a:cxn ang="0">
                <a:pos x="62" y="0"/>
              </a:cxn>
              <a:cxn ang="0">
                <a:pos x="62" y="40"/>
              </a:cxn>
              <a:cxn ang="0">
                <a:pos x="62" y="0"/>
              </a:cxn>
              <a:cxn ang="0">
                <a:pos x="154" y="110"/>
              </a:cxn>
              <a:cxn ang="0">
                <a:pos x="91" y="110"/>
              </a:cxn>
              <a:cxn ang="0">
                <a:pos x="182" y="0"/>
              </a:cxn>
              <a:cxn ang="0">
                <a:pos x="182" y="40"/>
              </a:cxn>
              <a:cxn ang="0">
                <a:pos x="182" y="0"/>
              </a:cxn>
            </a:cxnLst>
            <a:rect l="0" t="0" r="r" b="b"/>
            <a:pathLst>
              <a:path w="241" h="248">
                <a:moveTo>
                  <a:pt x="234" y="141"/>
                </a:moveTo>
                <a:cubicBezTo>
                  <a:pt x="233" y="141"/>
                  <a:pt x="232" y="141"/>
                  <a:pt x="231" y="141"/>
                </a:cubicBezTo>
                <a:cubicBezTo>
                  <a:pt x="227" y="141"/>
                  <a:pt x="223" y="139"/>
                  <a:pt x="222" y="134"/>
                </a:cubicBezTo>
                <a:cubicBezTo>
                  <a:pt x="206" y="82"/>
                  <a:pt x="206" y="82"/>
                  <a:pt x="206" y="82"/>
                </a:cubicBezTo>
                <a:cubicBezTo>
                  <a:pt x="198" y="82"/>
                  <a:pt x="198" y="82"/>
                  <a:pt x="198" y="82"/>
                </a:cubicBezTo>
                <a:cubicBezTo>
                  <a:pt x="217" y="156"/>
                  <a:pt x="217" y="156"/>
                  <a:pt x="217" y="156"/>
                </a:cubicBezTo>
                <a:cubicBezTo>
                  <a:pt x="218" y="157"/>
                  <a:pt x="218" y="158"/>
                  <a:pt x="218" y="160"/>
                </a:cubicBezTo>
                <a:cubicBezTo>
                  <a:pt x="218" y="164"/>
                  <a:pt x="214" y="168"/>
                  <a:pt x="210" y="168"/>
                </a:cubicBezTo>
                <a:cubicBezTo>
                  <a:pt x="209" y="168"/>
                  <a:pt x="209" y="168"/>
                  <a:pt x="209" y="168"/>
                </a:cubicBezTo>
                <a:cubicBezTo>
                  <a:pt x="208" y="167"/>
                  <a:pt x="208" y="166"/>
                  <a:pt x="208" y="165"/>
                </a:cubicBezTo>
                <a:cubicBezTo>
                  <a:pt x="203" y="148"/>
                  <a:pt x="186" y="137"/>
                  <a:pt x="168" y="137"/>
                </a:cubicBezTo>
                <a:cubicBezTo>
                  <a:pt x="157" y="137"/>
                  <a:pt x="157" y="137"/>
                  <a:pt x="157" y="137"/>
                </a:cubicBezTo>
                <a:cubicBezTo>
                  <a:pt x="163" y="129"/>
                  <a:pt x="166" y="120"/>
                  <a:pt x="166" y="110"/>
                </a:cubicBezTo>
                <a:cubicBezTo>
                  <a:pt x="166" y="93"/>
                  <a:pt x="156" y="78"/>
                  <a:pt x="141" y="71"/>
                </a:cubicBezTo>
                <a:cubicBezTo>
                  <a:pt x="144" y="62"/>
                  <a:pt x="144" y="62"/>
                  <a:pt x="144" y="62"/>
                </a:cubicBezTo>
                <a:cubicBezTo>
                  <a:pt x="144" y="62"/>
                  <a:pt x="144" y="62"/>
                  <a:pt x="144" y="62"/>
                </a:cubicBezTo>
                <a:cubicBezTo>
                  <a:pt x="147" y="53"/>
                  <a:pt x="154" y="48"/>
                  <a:pt x="162" y="48"/>
                </a:cubicBezTo>
                <a:cubicBezTo>
                  <a:pt x="201" y="48"/>
                  <a:pt x="201" y="48"/>
                  <a:pt x="201" y="48"/>
                </a:cubicBezTo>
                <a:cubicBezTo>
                  <a:pt x="209" y="48"/>
                  <a:pt x="216" y="53"/>
                  <a:pt x="219" y="62"/>
                </a:cubicBezTo>
                <a:cubicBezTo>
                  <a:pt x="219" y="62"/>
                  <a:pt x="219" y="62"/>
                  <a:pt x="219" y="62"/>
                </a:cubicBezTo>
                <a:cubicBezTo>
                  <a:pt x="240" y="129"/>
                  <a:pt x="240" y="129"/>
                  <a:pt x="240" y="129"/>
                </a:cubicBezTo>
                <a:cubicBezTo>
                  <a:pt x="241" y="134"/>
                  <a:pt x="238" y="139"/>
                  <a:pt x="234" y="141"/>
                </a:cubicBezTo>
                <a:close/>
                <a:moveTo>
                  <a:pt x="176" y="237"/>
                </a:moveTo>
                <a:cubicBezTo>
                  <a:pt x="170" y="198"/>
                  <a:pt x="170" y="198"/>
                  <a:pt x="170" y="198"/>
                </a:cubicBezTo>
                <a:cubicBezTo>
                  <a:pt x="162" y="198"/>
                  <a:pt x="162" y="198"/>
                  <a:pt x="162" y="198"/>
                </a:cubicBezTo>
                <a:cubicBezTo>
                  <a:pt x="164" y="242"/>
                  <a:pt x="164" y="242"/>
                  <a:pt x="164" y="242"/>
                </a:cubicBezTo>
                <a:cubicBezTo>
                  <a:pt x="151" y="246"/>
                  <a:pt x="137" y="248"/>
                  <a:pt x="122" y="248"/>
                </a:cubicBezTo>
                <a:cubicBezTo>
                  <a:pt x="108" y="248"/>
                  <a:pt x="94" y="246"/>
                  <a:pt x="81" y="242"/>
                </a:cubicBezTo>
                <a:cubicBezTo>
                  <a:pt x="83" y="198"/>
                  <a:pt x="83" y="198"/>
                  <a:pt x="83" y="198"/>
                </a:cubicBezTo>
                <a:cubicBezTo>
                  <a:pt x="75" y="198"/>
                  <a:pt x="75" y="198"/>
                  <a:pt x="75" y="198"/>
                </a:cubicBezTo>
                <a:cubicBezTo>
                  <a:pt x="67" y="237"/>
                  <a:pt x="67" y="237"/>
                  <a:pt x="67" y="237"/>
                </a:cubicBezTo>
                <a:cubicBezTo>
                  <a:pt x="57" y="232"/>
                  <a:pt x="48" y="226"/>
                  <a:pt x="40" y="219"/>
                </a:cubicBezTo>
                <a:cubicBezTo>
                  <a:pt x="48" y="171"/>
                  <a:pt x="48" y="171"/>
                  <a:pt x="48" y="171"/>
                </a:cubicBezTo>
                <a:cubicBezTo>
                  <a:pt x="48" y="170"/>
                  <a:pt x="48" y="169"/>
                  <a:pt x="48" y="169"/>
                </a:cubicBezTo>
                <a:cubicBezTo>
                  <a:pt x="52" y="157"/>
                  <a:pt x="63" y="149"/>
                  <a:pt x="77" y="149"/>
                </a:cubicBezTo>
                <a:cubicBezTo>
                  <a:pt x="104" y="149"/>
                  <a:pt x="104" y="149"/>
                  <a:pt x="104" y="149"/>
                </a:cubicBezTo>
                <a:cubicBezTo>
                  <a:pt x="123" y="182"/>
                  <a:pt x="123" y="182"/>
                  <a:pt x="123" y="182"/>
                </a:cubicBezTo>
                <a:cubicBezTo>
                  <a:pt x="141" y="149"/>
                  <a:pt x="141" y="149"/>
                  <a:pt x="141" y="149"/>
                </a:cubicBezTo>
                <a:cubicBezTo>
                  <a:pt x="168" y="149"/>
                  <a:pt x="168" y="149"/>
                  <a:pt x="168" y="149"/>
                </a:cubicBezTo>
                <a:cubicBezTo>
                  <a:pt x="181" y="149"/>
                  <a:pt x="192" y="157"/>
                  <a:pt x="196" y="169"/>
                </a:cubicBezTo>
                <a:cubicBezTo>
                  <a:pt x="196" y="169"/>
                  <a:pt x="196" y="170"/>
                  <a:pt x="196" y="171"/>
                </a:cubicBezTo>
                <a:cubicBezTo>
                  <a:pt x="204" y="219"/>
                  <a:pt x="204" y="219"/>
                  <a:pt x="204" y="219"/>
                </a:cubicBezTo>
                <a:cubicBezTo>
                  <a:pt x="196" y="226"/>
                  <a:pt x="186" y="232"/>
                  <a:pt x="176" y="237"/>
                </a:cubicBezTo>
                <a:close/>
                <a:moveTo>
                  <a:pt x="35" y="169"/>
                </a:moveTo>
                <a:cubicBezTo>
                  <a:pt x="34" y="174"/>
                  <a:pt x="34" y="174"/>
                  <a:pt x="34" y="174"/>
                </a:cubicBezTo>
                <a:cubicBezTo>
                  <a:pt x="36" y="80"/>
                  <a:pt x="36" y="80"/>
                  <a:pt x="36" y="80"/>
                </a:cubicBezTo>
                <a:cubicBezTo>
                  <a:pt x="30" y="80"/>
                  <a:pt x="30" y="80"/>
                  <a:pt x="30" y="80"/>
                </a:cubicBezTo>
                <a:cubicBezTo>
                  <a:pt x="21" y="131"/>
                  <a:pt x="21" y="131"/>
                  <a:pt x="21" y="131"/>
                </a:cubicBezTo>
                <a:cubicBezTo>
                  <a:pt x="20" y="136"/>
                  <a:pt x="16" y="140"/>
                  <a:pt x="11" y="140"/>
                </a:cubicBezTo>
                <a:cubicBezTo>
                  <a:pt x="11" y="140"/>
                  <a:pt x="10" y="140"/>
                  <a:pt x="9" y="140"/>
                </a:cubicBezTo>
                <a:cubicBezTo>
                  <a:pt x="4" y="139"/>
                  <a:pt x="0" y="133"/>
                  <a:pt x="1" y="128"/>
                </a:cubicBezTo>
                <a:cubicBezTo>
                  <a:pt x="12" y="61"/>
                  <a:pt x="12" y="61"/>
                  <a:pt x="12" y="61"/>
                </a:cubicBezTo>
                <a:cubicBezTo>
                  <a:pt x="12" y="60"/>
                  <a:pt x="12" y="60"/>
                  <a:pt x="12" y="60"/>
                </a:cubicBezTo>
                <a:cubicBezTo>
                  <a:pt x="15" y="52"/>
                  <a:pt x="23" y="47"/>
                  <a:pt x="31" y="47"/>
                </a:cubicBezTo>
                <a:cubicBezTo>
                  <a:pt x="49" y="47"/>
                  <a:pt x="49" y="47"/>
                  <a:pt x="49" y="47"/>
                </a:cubicBezTo>
                <a:cubicBezTo>
                  <a:pt x="62" y="69"/>
                  <a:pt x="62" y="69"/>
                  <a:pt x="62" y="69"/>
                </a:cubicBezTo>
                <a:cubicBezTo>
                  <a:pt x="76" y="47"/>
                  <a:pt x="76" y="47"/>
                  <a:pt x="76" y="47"/>
                </a:cubicBezTo>
                <a:cubicBezTo>
                  <a:pt x="94" y="47"/>
                  <a:pt x="94" y="47"/>
                  <a:pt x="94" y="47"/>
                </a:cubicBezTo>
                <a:cubicBezTo>
                  <a:pt x="103" y="47"/>
                  <a:pt x="110" y="52"/>
                  <a:pt x="113" y="60"/>
                </a:cubicBezTo>
                <a:cubicBezTo>
                  <a:pt x="113" y="61"/>
                  <a:pt x="113" y="61"/>
                  <a:pt x="113" y="61"/>
                </a:cubicBezTo>
                <a:cubicBezTo>
                  <a:pt x="114" y="67"/>
                  <a:pt x="114" y="67"/>
                  <a:pt x="114" y="67"/>
                </a:cubicBezTo>
                <a:cubicBezTo>
                  <a:pt x="105" y="69"/>
                  <a:pt x="97" y="73"/>
                  <a:pt x="91" y="80"/>
                </a:cubicBezTo>
                <a:cubicBezTo>
                  <a:pt x="90" y="80"/>
                  <a:pt x="90" y="80"/>
                  <a:pt x="90" y="80"/>
                </a:cubicBezTo>
                <a:cubicBezTo>
                  <a:pt x="90" y="81"/>
                  <a:pt x="90" y="81"/>
                  <a:pt x="90" y="81"/>
                </a:cubicBezTo>
                <a:cubicBezTo>
                  <a:pt x="83" y="88"/>
                  <a:pt x="79" y="99"/>
                  <a:pt x="79" y="110"/>
                </a:cubicBezTo>
                <a:cubicBezTo>
                  <a:pt x="79" y="120"/>
                  <a:pt x="82" y="129"/>
                  <a:pt x="87" y="137"/>
                </a:cubicBezTo>
                <a:cubicBezTo>
                  <a:pt x="77" y="137"/>
                  <a:pt x="77" y="137"/>
                  <a:pt x="77" y="137"/>
                </a:cubicBezTo>
                <a:cubicBezTo>
                  <a:pt x="58" y="137"/>
                  <a:pt x="41" y="148"/>
                  <a:pt x="36" y="165"/>
                </a:cubicBezTo>
                <a:cubicBezTo>
                  <a:pt x="36" y="166"/>
                  <a:pt x="35" y="167"/>
                  <a:pt x="35" y="169"/>
                </a:cubicBezTo>
                <a:close/>
                <a:moveTo>
                  <a:pt x="62" y="0"/>
                </a:moveTo>
                <a:cubicBezTo>
                  <a:pt x="74" y="0"/>
                  <a:pt x="83" y="9"/>
                  <a:pt x="83" y="20"/>
                </a:cubicBezTo>
                <a:cubicBezTo>
                  <a:pt x="83" y="31"/>
                  <a:pt x="74" y="40"/>
                  <a:pt x="62" y="40"/>
                </a:cubicBezTo>
                <a:cubicBezTo>
                  <a:pt x="51" y="40"/>
                  <a:pt x="42" y="31"/>
                  <a:pt x="42" y="20"/>
                </a:cubicBezTo>
                <a:cubicBezTo>
                  <a:pt x="42" y="9"/>
                  <a:pt x="51" y="0"/>
                  <a:pt x="62" y="0"/>
                </a:cubicBezTo>
                <a:close/>
                <a:moveTo>
                  <a:pt x="122" y="79"/>
                </a:moveTo>
                <a:cubicBezTo>
                  <a:pt x="140" y="79"/>
                  <a:pt x="154" y="93"/>
                  <a:pt x="154" y="110"/>
                </a:cubicBezTo>
                <a:cubicBezTo>
                  <a:pt x="154" y="127"/>
                  <a:pt x="140" y="141"/>
                  <a:pt x="122" y="141"/>
                </a:cubicBezTo>
                <a:cubicBezTo>
                  <a:pt x="105" y="141"/>
                  <a:pt x="91" y="127"/>
                  <a:pt x="91" y="110"/>
                </a:cubicBezTo>
                <a:cubicBezTo>
                  <a:pt x="91" y="93"/>
                  <a:pt x="105" y="79"/>
                  <a:pt x="122" y="79"/>
                </a:cubicBezTo>
                <a:close/>
                <a:moveTo>
                  <a:pt x="182" y="0"/>
                </a:moveTo>
                <a:cubicBezTo>
                  <a:pt x="193" y="0"/>
                  <a:pt x="201" y="9"/>
                  <a:pt x="201" y="20"/>
                </a:cubicBezTo>
                <a:cubicBezTo>
                  <a:pt x="201" y="31"/>
                  <a:pt x="193" y="40"/>
                  <a:pt x="182" y="40"/>
                </a:cubicBezTo>
                <a:cubicBezTo>
                  <a:pt x="171" y="40"/>
                  <a:pt x="162" y="31"/>
                  <a:pt x="162" y="20"/>
                </a:cubicBezTo>
                <a:cubicBezTo>
                  <a:pt x="162" y="9"/>
                  <a:pt x="171" y="0"/>
                  <a:pt x="182" y="0"/>
                </a:cubicBezTo>
                <a:close/>
              </a:path>
            </a:pathLst>
          </a:custGeom>
          <a:solidFill>
            <a:srgbClr val="003C54"/>
          </a:solidFill>
          <a:ln w="9525">
            <a:noFill/>
            <a:round/>
            <a:headEnd/>
            <a:tailEnd/>
          </a:ln>
        </p:spPr>
        <p:txBody>
          <a:bodyPr vert="horz" wrap="square" lIns="75613" tIns="37806" rIns="75613" bIns="37806" numCol="1" anchor="t" anchorCtr="0" compatLnSpc="1">
            <a:prstTxWarp prst="textNoShape">
              <a:avLst/>
            </a:prstTxWarp>
          </a:bodyPr>
          <a:lstStyle/>
          <a:p>
            <a:endParaRPr lang="en-US" sz="1654">
              <a:latin typeface="Arial" panose="020B0604020202020204" pitchFamily="34" charset="0"/>
              <a:cs typeface="Arial" panose="020B0604020202020204" pitchFamily="34" charset="0"/>
              <a:sym typeface="Arial" panose="020B0604020202020204" pitchFamily="34" charset="0"/>
            </a:endParaRPr>
          </a:p>
        </p:txBody>
      </p:sp>
      <p:sp>
        <p:nvSpPr>
          <p:cNvPr id="19" name="TextBox 18">
            <a:extLst>
              <a:ext uri="{FF2B5EF4-FFF2-40B4-BE49-F238E27FC236}">
                <a16:creationId xmlns:a16="http://schemas.microsoft.com/office/drawing/2014/main" id="{5D4B92CC-E775-4EA5-AA04-402793FDE6F3}"/>
              </a:ext>
            </a:extLst>
          </p:cNvPr>
          <p:cNvSpPr txBox="1"/>
          <p:nvPr/>
        </p:nvSpPr>
        <p:spPr>
          <a:xfrm>
            <a:off x="6387279" y="2858194"/>
            <a:ext cx="565688" cy="144350"/>
          </a:xfrm>
          <a:prstGeom prst="rect">
            <a:avLst/>
          </a:prstGeom>
          <a:solidFill>
            <a:schemeClr val="bg1"/>
          </a:solidFill>
        </p:spPr>
        <p:txBody>
          <a:bodyPr wrap="square" lIns="0" tIns="0" rIns="0" bIns="0" rtlCol="0">
            <a:noAutofit/>
          </a:bodyPr>
          <a:lstStyle/>
          <a:p>
            <a:pPr algn="ctr" defTabSz="342569" fontAlgn="base">
              <a:spcBef>
                <a:spcPts val="900"/>
              </a:spcBef>
            </a:pPr>
            <a:r>
              <a:rPr lang="en-US" sz="900" dirty="0">
                <a:solidFill>
                  <a:srgbClr val="064E69"/>
                </a:solidFill>
                <a:cs typeface="Open Sans Light"/>
              </a:rPr>
              <a:t>Physician Assistants  </a:t>
            </a:r>
          </a:p>
        </p:txBody>
      </p:sp>
      <p:sp>
        <p:nvSpPr>
          <p:cNvPr id="20" name="Rectangle: Rounded Corners 19">
            <a:extLst>
              <a:ext uri="{FF2B5EF4-FFF2-40B4-BE49-F238E27FC236}">
                <a16:creationId xmlns:a16="http://schemas.microsoft.com/office/drawing/2014/main" id="{0940A03A-74D3-4EE1-8FE2-6A1693CC88F3}"/>
              </a:ext>
            </a:extLst>
          </p:cNvPr>
          <p:cNvSpPr/>
          <p:nvPr/>
        </p:nvSpPr>
        <p:spPr>
          <a:xfrm>
            <a:off x="2085456" y="3229124"/>
            <a:ext cx="1386624" cy="530679"/>
          </a:xfrm>
          <a:prstGeom prst="round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latin typeface="+mj-lt"/>
                <a:cs typeface="Open Sans Bold"/>
              </a:rPr>
              <a:t>Utilization  Management</a:t>
            </a:r>
          </a:p>
        </p:txBody>
      </p:sp>
      <p:sp>
        <p:nvSpPr>
          <p:cNvPr id="21" name="Rectangle: Rounded Corners 20">
            <a:extLst>
              <a:ext uri="{FF2B5EF4-FFF2-40B4-BE49-F238E27FC236}">
                <a16:creationId xmlns:a16="http://schemas.microsoft.com/office/drawing/2014/main" id="{A1F556BF-DF93-41B4-BCA2-12F04634DC42}"/>
              </a:ext>
            </a:extLst>
          </p:cNvPr>
          <p:cNvSpPr/>
          <p:nvPr/>
        </p:nvSpPr>
        <p:spPr>
          <a:xfrm>
            <a:off x="9904540" y="3229124"/>
            <a:ext cx="1221871" cy="530679"/>
          </a:xfrm>
          <a:prstGeom prst="round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latin typeface="+mj-lt"/>
                <a:cs typeface="Open Sans Bold"/>
              </a:rPr>
              <a:t>MTM </a:t>
            </a:r>
          </a:p>
          <a:p>
            <a:pPr algn="ctr"/>
            <a:r>
              <a:rPr lang="en-US" sz="1350" dirty="0">
                <a:latin typeface="+mj-lt"/>
                <a:cs typeface="Open Sans Bold"/>
              </a:rPr>
              <a:t>Fulfillment</a:t>
            </a:r>
          </a:p>
        </p:txBody>
      </p:sp>
      <p:grpSp>
        <p:nvGrpSpPr>
          <p:cNvPr id="22" name="Group 21">
            <a:extLst>
              <a:ext uri="{FF2B5EF4-FFF2-40B4-BE49-F238E27FC236}">
                <a16:creationId xmlns:a16="http://schemas.microsoft.com/office/drawing/2014/main" id="{A3367F46-08A4-4732-86D9-EDD72D7323E0}"/>
              </a:ext>
            </a:extLst>
          </p:cNvPr>
          <p:cNvGrpSpPr/>
          <p:nvPr/>
        </p:nvGrpSpPr>
        <p:grpSpPr>
          <a:xfrm>
            <a:off x="3731098" y="2633800"/>
            <a:ext cx="450004" cy="343447"/>
            <a:chOff x="4038475" y="5385584"/>
            <a:chExt cx="600005" cy="457929"/>
          </a:xfrm>
        </p:grpSpPr>
        <p:sp>
          <p:nvSpPr>
            <p:cNvPr id="23" name="Freeform 24">
              <a:extLst>
                <a:ext uri="{FF2B5EF4-FFF2-40B4-BE49-F238E27FC236}">
                  <a16:creationId xmlns:a16="http://schemas.microsoft.com/office/drawing/2014/main" id="{0A3249B6-CD38-4283-862D-24FA82D07DE6}"/>
                </a:ext>
              </a:extLst>
            </p:cNvPr>
            <p:cNvSpPr>
              <a:spLocks noEditPoints="1"/>
            </p:cNvSpPr>
            <p:nvPr/>
          </p:nvSpPr>
          <p:spPr bwMode="auto">
            <a:xfrm>
              <a:off x="4052530" y="5385584"/>
              <a:ext cx="448797" cy="294576"/>
            </a:xfrm>
            <a:custGeom>
              <a:avLst/>
              <a:gdLst/>
              <a:ahLst/>
              <a:cxnLst>
                <a:cxn ang="0">
                  <a:pos x="231" y="141"/>
                </a:cxn>
                <a:cxn ang="0">
                  <a:pos x="206" y="82"/>
                </a:cxn>
                <a:cxn ang="0">
                  <a:pos x="217" y="156"/>
                </a:cxn>
                <a:cxn ang="0">
                  <a:pos x="210" y="168"/>
                </a:cxn>
                <a:cxn ang="0">
                  <a:pos x="208" y="165"/>
                </a:cxn>
                <a:cxn ang="0">
                  <a:pos x="157" y="137"/>
                </a:cxn>
                <a:cxn ang="0">
                  <a:pos x="141" y="71"/>
                </a:cxn>
                <a:cxn ang="0">
                  <a:pos x="144" y="62"/>
                </a:cxn>
                <a:cxn ang="0">
                  <a:pos x="201" y="48"/>
                </a:cxn>
                <a:cxn ang="0">
                  <a:pos x="219" y="62"/>
                </a:cxn>
                <a:cxn ang="0">
                  <a:pos x="234" y="141"/>
                </a:cxn>
                <a:cxn ang="0">
                  <a:pos x="170" y="198"/>
                </a:cxn>
                <a:cxn ang="0">
                  <a:pos x="164" y="242"/>
                </a:cxn>
                <a:cxn ang="0">
                  <a:pos x="81" y="242"/>
                </a:cxn>
                <a:cxn ang="0">
                  <a:pos x="75" y="198"/>
                </a:cxn>
                <a:cxn ang="0">
                  <a:pos x="40" y="219"/>
                </a:cxn>
                <a:cxn ang="0">
                  <a:pos x="48" y="169"/>
                </a:cxn>
                <a:cxn ang="0">
                  <a:pos x="104" y="149"/>
                </a:cxn>
                <a:cxn ang="0">
                  <a:pos x="141" y="149"/>
                </a:cxn>
                <a:cxn ang="0">
                  <a:pos x="196" y="169"/>
                </a:cxn>
                <a:cxn ang="0">
                  <a:pos x="204" y="219"/>
                </a:cxn>
                <a:cxn ang="0">
                  <a:pos x="35" y="169"/>
                </a:cxn>
                <a:cxn ang="0">
                  <a:pos x="36" y="80"/>
                </a:cxn>
                <a:cxn ang="0">
                  <a:pos x="21" y="131"/>
                </a:cxn>
                <a:cxn ang="0">
                  <a:pos x="9" y="140"/>
                </a:cxn>
                <a:cxn ang="0">
                  <a:pos x="12" y="61"/>
                </a:cxn>
                <a:cxn ang="0">
                  <a:pos x="31" y="47"/>
                </a:cxn>
                <a:cxn ang="0">
                  <a:pos x="62" y="69"/>
                </a:cxn>
                <a:cxn ang="0">
                  <a:pos x="94" y="47"/>
                </a:cxn>
                <a:cxn ang="0">
                  <a:pos x="113" y="61"/>
                </a:cxn>
                <a:cxn ang="0">
                  <a:pos x="91" y="80"/>
                </a:cxn>
                <a:cxn ang="0">
                  <a:pos x="90" y="81"/>
                </a:cxn>
                <a:cxn ang="0">
                  <a:pos x="87" y="137"/>
                </a:cxn>
                <a:cxn ang="0">
                  <a:pos x="36" y="165"/>
                </a:cxn>
                <a:cxn ang="0">
                  <a:pos x="62" y="0"/>
                </a:cxn>
                <a:cxn ang="0">
                  <a:pos x="62" y="40"/>
                </a:cxn>
                <a:cxn ang="0">
                  <a:pos x="62" y="0"/>
                </a:cxn>
                <a:cxn ang="0">
                  <a:pos x="154" y="110"/>
                </a:cxn>
                <a:cxn ang="0">
                  <a:pos x="91" y="110"/>
                </a:cxn>
                <a:cxn ang="0">
                  <a:pos x="182" y="0"/>
                </a:cxn>
                <a:cxn ang="0">
                  <a:pos x="182" y="40"/>
                </a:cxn>
                <a:cxn ang="0">
                  <a:pos x="182" y="0"/>
                </a:cxn>
              </a:cxnLst>
              <a:rect l="0" t="0" r="r" b="b"/>
              <a:pathLst>
                <a:path w="241" h="248">
                  <a:moveTo>
                    <a:pt x="234" y="141"/>
                  </a:moveTo>
                  <a:cubicBezTo>
                    <a:pt x="233" y="141"/>
                    <a:pt x="232" y="141"/>
                    <a:pt x="231" y="141"/>
                  </a:cubicBezTo>
                  <a:cubicBezTo>
                    <a:pt x="227" y="141"/>
                    <a:pt x="223" y="139"/>
                    <a:pt x="222" y="134"/>
                  </a:cubicBezTo>
                  <a:cubicBezTo>
                    <a:pt x="206" y="82"/>
                    <a:pt x="206" y="82"/>
                    <a:pt x="206" y="82"/>
                  </a:cubicBezTo>
                  <a:cubicBezTo>
                    <a:pt x="198" y="82"/>
                    <a:pt x="198" y="82"/>
                    <a:pt x="198" y="82"/>
                  </a:cubicBezTo>
                  <a:cubicBezTo>
                    <a:pt x="217" y="156"/>
                    <a:pt x="217" y="156"/>
                    <a:pt x="217" y="156"/>
                  </a:cubicBezTo>
                  <a:cubicBezTo>
                    <a:pt x="218" y="157"/>
                    <a:pt x="218" y="158"/>
                    <a:pt x="218" y="160"/>
                  </a:cubicBezTo>
                  <a:cubicBezTo>
                    <a:pt x="218" y="164"/>
                    <a:pt x="214" y="168"/>
                    <a:pt x="210" y="168"/>
                  </a:cubicBezTo>
                  <a:cubicBezTo>
                    <a:pt x="209" y="168"/>
                    <a:pt x="209" y="168"/>
                    <a:pt x="209" y="168"/>
                  </a:cubicBezTo>
                  <a:cubicBezTo>
                    <a:pt x="208" y="167"/>
                    <a:pt x="208" y="166"/>
                    <a:pt x="208" y="165"/>
                  </a:cubicBezTo>
                  <a:cubicBezTo>
                    <a:pt x="203" y="148"/>
                    <a:pt x="186" y="137"/>
                    <a:pt x="168" y="137"/>
                  </a:cubicBezTo>
                  <a:cubicBezTo>
                    <a:pt x="157" y="137"/>
                    <a:pt x="157" y="137"/>
                    <a:pt x="157" y="137"/>
                  </a:cubicBezTo>
                  <a:cubicBezTo>
                    <a:pt x="163" y="129"/>
                    <a:pt x="166" y="120"/>
                    <a:pt x="166" y="110"/>
                  </a:cubicBezTo>
                  <a:cubicBezTo>
                    <a:pt x="166" y="93"/>
                    <a:pt x="156" y="78"/>
                    <a:pt x="141" y="71"/>
                  </a:cubicBezTo>
                  <a:cubicBezTo>
                    <a:pt x="144" y="62"/>
                    <a:pt x="144" y="62"/>
                    <a:pt x="144" y="62"/>
                  </a:cubicBezTo>
                  <a:cubicBezTo>
                    <a:pt x="144" y="62"/>
                    <a:pt x="144" y="62"/>
                    <a:pt x="144" y="62"/>
                  </a:cubicBezTo>
                  <a:cubicBezTo>
                    <a:pt x="147" y="53"/>
                    <a:pt x="154" y="48"/>
                    <a:pt x="162" y="48"/>
                  </a:cubicBezTo>
                  <a:cubicBezTo>
                    <a:pt x="201" y="48"/>
                    <a:pt x="201" y="48"/>
                    <a:pt x="201" y="48"/>
                  </a:cubicBezTo>
                  <a:cubicBezTo>
                    <a:pt x="209" y="48"/>
                    <a:pt x="216" y="53"/>
                    <a:pt x="219" y="62"/>
                  </a:cubicBezTo>
                  <a:cubicBezTo>
                    <a:pt x="219" y="62"/>
                    <a:pt x="219" y="62"/>
                    <a:pt x="219" y="62"/>
                  </a:cubicBezTo>
                  <a:cubicBezTo>
                    <a:pt x="240" y="129"/>
                    <a:pt x="240" y="129"/>
                    <a:pt x="240" y="129"/>
                  </a:cubicBezTo>
                  <a:cubicBezTo>
                    <a:pt x="241" y="134"/>
                    <a:pt x="238" y="139"/>
                    <a:pt x="234" y="141"/>
                  </a:cubicBezTo>
                  <a:close/>
                  <a:moveTo>
                    <a:pt x="176" y="237"/>
                  </a:moveTo>
                  <a:cubicBezTo>
                    <a:pt x="170" y="198"/>
                    <a:pt x="170" y="198"/>
                    <a:pt x="170" y="198"/>
                  </a:cubicBezTo>
                  <a:cubicBezTo>
                    <a:pt x="162" y="198"/>
                    <a:pt x="162" y="198"/>
                    <a:pt x="162" y="198"/>
                  </a:cubicBezTo>
                  <a:cubicBezTo>
                    <a:pt x="164" y="242"/>
                    <a:pt x="164" y="242"/>
                    <a:pt x="164" y="242"/>
                  </a:cubicBezTo>
                  <a:cubicBezTo>
                    <a:pt x="151" y="246"/>
                    <a:pt x="137" y="248"/>
                    <a:pt x="122" y="248"/>
                  </a:cubicBezTo>
                  <a:cubicBezTo>
                    <a:pt x="108" y="248"/>
                    <a:pt x="94" y="246"/>
                    <a:pt x="81" y="242"/>
                  </a:cubicBezTo>
                  <a:cubicBezTo>
                    <a:pt x="83" y="198"/>
                    <a:pt x="83" y="198"/>
                    <a:pt x="83" y="198"/>
                  </a:cubicBezTo>
                  <a:cubicBezTo>
                    <a:pt x="75" y="198"/>
                    <a:pt x="75" y="198"/>
                    <a:pt x="75" y="198"/>
                  </a:cubicBezTo>
                  <a:cubicBezTo>
                    <a:pt x="67" y="237"/>
                    <a:pt x="67" y="237"/>
                    <a:pt x="67" y="237"/>
                  </a:cubicBezTo>
                  <a:cubicBezTo>
                    <a:pt x="57" y="232"/>
                    <a:pt x="48" y="226"/>
                    <a:pt x="40" y="219"/>
                  </a:cubicBezTo>
                  <a:cubicBezTo>
                    <a:pt x="48" y="171"/>
                    <a:pt x="48" y="171"/>
                    <a:pt x="48" y="171"/>
                  </a:cubicBezTo>
                  <a:cubicBezTo>
                    <a:pt x="48" y="170"/>
                    <a:pt x="48" y="169"/>
                    <a:pt x="48" y="169"/>
                  </a:cubicBezTo>
                  <a:cubicBezTo>
                    <a:pt x="52" y="157"/>
                    <a:pt x="63" y="149"/>
                    <a:pt x="77" y="149"/>
                  </a:cubicBezTo>
                  <a:cubicBezTo>
                    <a:pt x="104" y="149"/>
                    <a:pt x="104" y="149"/>
                    <a:pt x="104" y="149"/>
                  </a:cubicBezTo>
                  <a:cubicBezTo>
                    <a:pt x="123" y="182"/>
                    <a:pt x="123" y="182"/>
                    <a:pt x="123" y="182"/>
                  </a:cubicBezTo>
                  <a:cubicBezTo>
                    <a:pt x="141" y="149"/>
                    <a:pt x="141" y="149"/>
                    <a:pt x="141" y="149"/>
                  </a:cubicBezTo>
                  <a:cubicBezTo>
                    <a:pt x="168" y="149"/>
                    <a:pt x="168" y="149"/>
                    <a:pt x="168" y="149"/>
                  </a:cubicBezTo>
                  <a:cubicBezTo>
                    <a:pt x="181" y="149"/>
                    <a:pt x="192" y="157"/>
                    <a:pt x="196" y="169"/>
                  </a:cubicBezTo>
                  <a:cubicBezTo>
                    <a:pt x="196" y="169"/>
                    <a:pt x="196" y="170"/>
                    <a:pt x="196" y="171"/>
                  </a:cubicBezTo>
                  <a:cubicBezTo>
                    <a:pt x="204" y="219"/>
                    <a:pt x="204" y="219"/>
                    <a:pt x="204" y="219"/>
                  </a:cubicBezTo>
                  <a:cubicBezTo>
                    <a:pt x="196" y="226"/>
                    <a:pt x="186" y="232"/>
                    <a:pt x="176" y="237"/>
                  </a:cubicBezTo>
                  <a:close/>
                  <a:moveTo>
                    <a:pt x="35" y="169"/>
                  </a:moveTo>
                  <a:cubicBezTo>
                    <a:pt x="34" y="174"/>
                    <a:pt x="34" y="174"/>
                    <a:pt x="34" y="174"/>
                  </a:cubicBezTo>
                  <a:cubicBezTo>
                    <a:pt x="36" y="80"/>
                    <a:pt x="36" y="80"/>
                    <a:pt x="36" y="80"/>
                  </a:cubicBezTo>
                  <a:cubicBezTo>
                    <a:pt x="30" y="80"/>
                    <a:pt x="30" y="80"/>
                    <a:pt x="30" y="80"/>
                  </a:cubicBezTo>
                  <a:cubicBezTo>
                    <a:pt x="21" y="131"/>
                    <a:pt x="21" y="131"/>
                    <a:pt x="21" y="131"/>
                  </a:cubicBezTo>
                  <a:cubicBezTo>
                    <a:pt x="20" y="136"/>
                    <a:pt x="16" y="140"/>
                    <a:pt x="11" y="140"/>
                  </a:cubicBezTo>
                  <a:cubicBezTo>
                    <a:pt x="11" y="140"/>
                    <a:pt x="10" y="140"/>
                    <a:pt x="9" y="140"/>
                  </a:cubicBezTo>
                  <a:cubicBezTo>
                    <a:pt x="4" y="139"/>
                    <a:pt x="0" y="133"/>
                    <a:pt x="1" y="128"/>
                  </a:cubicBezTo>
                  <a:cubicBezTo>
                    <a:pt x="12" y="61"/>
                    <a:pt x="12" y="61"/>
                    <a:pt x="12" y="61"/>
                  </a:cubicBezTo>
                  <a:cubicBezTo>
                    <a:pt x="12" y="60"/>
                    <a:pt x="12" y="60"/>
                    <a:pt x="12" y="60"/>
                  </a:cubicBezTo>
                  <a:cubicBezTo>
                    <a:pt x="15" y="52"/>
                    <a:pt x="23" y="47"/>
                    <a:pt x="31" y="47"/>
                  </a:cubicBezTo>
                  <a:cubicBezTo>
                    <a:pt x="49" y="47"/>
                    <a:pt x="49" y="47"/>
                    <a:pt x="49" y="47"/>
                  </a:cubicBezTo>
                  <a:cubicBezTo>
                    <a:pt x="62" y="69"/>
                    <a:pt x="62" y="69"/>
                    <a:pt x="62" y="69"/>
                  </a:cubicBezTo>
                  <a:cubicBezTo>
                    <a:pt x="76" y="47"/>
                    <a:pt x="76" y="47"/>
                    <a:pt x="76" y="47"/>
                  </a:cubicBezTo>
                  <a:cubicBezTo>
                    <a:pt x="94" y="47"/>
                    <a:pt x="94" y="47"/>
                    <a:pt x="94" y="47"/>
                  </a:cubicBezTo>
                  <a:cubicBezTo>
                    <a:pt x="103" y="47"/>
                    <a:pt x="110" y="52"/>
                    <a:pt x="113" y="60"/>
                  </a:cubicBezTo>
                  <a:cubicBezTo>
                    <a:pt x="113" y="61"/>
                    <a:pt x="113" y="61"/>
                    <a:pt x="113" y="61"/>
                  </a:cubicBezTo>
                  <a:cubicBezTo>
                    <a:pt x="114" y="67"/>
                    <a:pt x="114" y="67"/>
                    <a:pt x="114" y="67"/>
                  </a:cubicBezTo>
                  <a:cubicBezTo>
                    <a:pt x="105" y="69"/>
                    <a:pt x="97" y="73"/>
                    <a:pt x="91" y="80"/>
                  </a:cubicBezTo>
                  <a:cubicBezTo>
                    <a:pt x="90" y="80"/>
                    <a:pt x="90" y="80"/>
                    <a:pt x="90" y="80"/>
                  </a:cubicBezTo>
                  <a:cubicBezTo>
                    <a:pt x="90" y="81"/>
                    <a:pt x="90" y="81"/>
                    <a:pt x="90" y="81"/>
                  </a:cubicBezTo>
                  <a:cubicBezTo>
                    <a:pt x="83" y="88"/>
                    <a:pt x="79" y="99"/>
                    <a:pt x="79" y="110"/>
                  </a:cubicBezTo>
                  <a:cubicBezTo>
                    <a:pt x="79" y="120"/>
                    <a:pt x="82" y="129"/>
                    <a:pt x="87" y="137"/>
                  </a:cubicBezTo>
                  <a:cubicBezTo>
                    <a:pt x="77" y="137"/>
                    <a:pt x="77" y="137"/>
                    <a:pt x="77" y="137"/>
                  </a:cubicBezTo>
                  <a:cubicBezTo>
                    <a:pt x="58" y="137"/>
                    <a:pt x="41" y="148"/>
                    <a:pt x="36" y="165"/>
                  </a:cubicBezTo>
                  <a:cubicBezTo>
                    <a:pt x="36" y="166"/>
                    <a:pt x="35" y="167"/>
                    <a:pt x="35" y="169"/>
                  </a:cubicBezTo>
                  <a:close/>
                  <a:moveTo>
                    <a:pt x="62" y="0"/>
                  </a:moveTo>
                  <a:cubicBezTo>
                    <a:pt x="74" y="0"/>
                    <a:pt x="83" y="9"/>
                    <a:pt x="83" y="20"/>
                  </a:cubicBezTo>
                  <a:cubicBezTo>
                    <a:pt x="83" y="31"/>
                    <a:pt x="74" y="40"/>
                    <a:pt x="62" y="40"/>
                  </a:cubicBezTo>
                  <a:cubicBezTo>
                    <a:pt x="51" y="40"/>
                    <a:pt x="42" y="31"/>
                    <a:pt x="42" y="20"/>
                  </a:cubicBezTo>
                  <a:cubicBezTo>
                    <a:pt x="42" y="9"/>
                    <a:pt x="51" y="0"/>
                    <a:pt x="62" y="0"/>
                  </a:cubicBezTo>
                  <a:close/>
                  <a:moveTo>
                    <a:pt x="122" y="79"/>
                  </a:moveTo>
                  <a:cubicBezTo>
                    <a:pt x="140" y="79"/>
                    <a:pt x="154" y="93"/>
                    <a:pt x="154" y="110"/>
                  </a:cubicBezTo>
                  <a:cubicBezTo>
                    <a:pt x="154" y="127"/>
                    <a:pt x="140" y="141"/>
                    <a:pt x="122" y="141"/>
                  </a:cubicBezTo>
                  <a:cubicBezTo>
                    <a:pt x="105" y="141"/>
                    <a:pt x="91" y="127"/>
                    <a:pt x="91" y="110"/>
                  </a:cubicBezTo>
                  <a:cubicBezTo>
                    <a:pt x="91" y="93"/>
                    <a:pt x="105" y="79"/>
                    <a:pt x="122" y="79"/>
                  </a:cubicBezTo>
                  <a:close/>
                  <a:moveTo>
                    <a:pt x="182" y="0"/>
                  </a:moveTo>
                  <a:cubicBezTo>
                    <a:pt x="193" y="0"/>
                    <a:pt x="201" y="9"/>
                    <a:pt x="201" y="20"/>
                  </a:cubicBezTo>
                  <a:cubicBezTo>
                    <a:pt x="201" y="31"/>
                    <a:pt x="193" y="40"/>
                    <a:pt x="182" y="40"/>
                  </a:cubicBezTo>
                  <a:cubicBezTo>
                    <a:pt x="171" y="40"/>
                    <a:pt x="162" y="31"/>
                    <a:pt x="162" y="20"/>
                  </a:cubicBezTo>
                  <a:cubicBezTo>
                    <a:pt x="162" y="9"/>
                    <a:pt x="171" y="0"/>
                    <a:pt x="182" y="0"/>
                  </a:cubicBezTo>
                  <a:close/>
                </a:path>
              </a:pathLst>
            </a:custGeom>
            <a:solidFill>
              <a:srgbClr val="003C54"/>
            </a:solidFill>
            <a:ln w="9525">
              <a:noFill/>
              <a:round/>
              <a:headEnd/>
              <a:tailEnd/>
            </a:ln>
          </p:spPr>
          <p:txBody>
            <a:bodyPr vert="horz" wrap="square" lIns="75613" tIns="37806" rIns="75613" bIns="37806" numCol="1" anchor="t" anchorCtr="0" compatLnSpc="1">
              <a:prstTxWarp prst="textNoShape">
                <a:avLst/>
              </a:prstTxWarp>
            </a:bodyPr>
            <a:lstStyle/>
            <a:p>
              <a:endParaRPr lang="en-US" sz="1654">
                <a:latin typeface="Arial" panose="020B0604020202020204" pitchFamily="34" charset="0"/>
                <a:cs typeface="Arial" panose="020B0604020202020204" pitchFamily="34" charset="0"/>
                <a:sym typeface="Arial" panose="020B0604020202020204" pitchFamily="34" charset="0"/>
              </a:endParaRPr>
            </a:p>
          </p:txBody>
        </p:sp>
        <p:sp>
          <p:nvSpPr>
            <p:cNvPr id="24" name="TextBox 23">
              <a:extLst>
                <a:ext uri="{FF2B5EF4-FFF2-40B4-BE49-F238E27FC236}">
                  <a16:creationId xmlns:a16="http://schemas.microsoft.com/office/drawing/2014/main" id="{375BE167-0529-453A-826B-C1E4FAD55782}"/>
                </a:ext>
              </a:extLst>
            </p:cNvPr>
            <p:cNvSpPr txBox="1"/>
            <p:nvPr/>
          </p:nvSpPr>
          <p:spPr>
            <a:xfrm>
              <a:off x="4038475" y="5684957"/>
              <a:ext cx="600005" cy="158556"/>
            </a:xfrm>
            <a:prstGeom prst="rect">
              <a:avLst/>
            </a:prstGeom>
            <a:solidFill>
              <a:schemeClr val="bg1"/>
            </a:solidFill>
          </p:spPr>
          <p:txBody>
            <a:bodyPr wrap="square" lIns="0" tIns="0" rIns="0" bIns="0" rtlCol="0">
              <a:noAutofit/>
            </a:bodyPr>
            <a:lstStyle/>
            <a:p>
              <a:pPr defTabSz="342569" fontAlgn="base">
                <a:spcBef>
                  <a:spcPts val="900"/>
                </a:spcBef>
              </a:pPr>
              <a:r>
                <a:rPr lang="en-US" sz="900" dirty="0">
                  <a:solidFill>
                    <a:srgbClr val="064E69"/>
                  </a:solidFill>
                  <a:cs typeface="Open Sans Light"/>
                </a:rPr>
                <a:t>Nurses</a:t>
              </a:r>
            </a:p>
          </p:txBody>
        </p:sp>
      </p:grpSp>
      <p:sp>
        <p:nvSpPr>
          <p:cNvPr id="25" name="Oval 24">
            <a:extLst>
              <a:ext uri="{FF2B5EF4-FFF2-40B4-BE49-F238E27FC236}">
                <a16:creationId xmlns:a16="http://schemas.microsoft.com/office/drawing/2014/main" id="{33F564CC-F757-4342-8A65-61C64F7192C8}"/>
              </a:ext>
            </a:extLst>
          </p:cNvPr>
          <p:cNvSpPr/>
          <p:nvPr/>
        </p:nvSpPr>
        <p:spPr>
          <a:xfrm>
            <a:off x="5392073" y="4910284"/>
            <a:ext cx="1783814" cy="560651"/>
          </a:xfrm>
          <a:prstGeom prst="ellipse">
            <a:avLst/>
          </a:prstGeom>
          <a:solidFill>
            <a:srgbClr val="003C54"/>
          </a:solidFill>
          <a:ln>
            <a:noFill/>
          </a:ln>
          <a:effectLst/>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350" dirty="0">
                <a:solidFill>
                  <a:schemeClr val="bg1"/>
                </a:solidFill>
                <a:latin typeface="Open Sans" panose="020B0606030504020204" pitchFamily="34" charset="0"/>
                <a:ea typeface="Open Sans" panose="020B0606030504020204" pitchFamily="34" charset="0"/>
                <a:cs typeface="Open Sans" panose="020B0606030504020204" pitchFamily="34" charset="0"/>
              </a:rPr>
              <a:t>UDF</a:t>
            </a:r>
          </a:p>
          <a:p>
            <a:pPr algn="ctr"/>
            <a:r>
              <a:rPr lang="en-US" sz="750" dirty="0">
                <a:solidFill>
                  <a:schemeClr val="bg1"/>
                </a:solidFill>
                <a:latin typeface="Open Sans" panose="020B0606030504020204" pitchFamily="34" charset="0"/>
                <a:ea typeface="Open Sans" panose="020B0606030504020204" pitchFamily="34" charset="0"/>
                <a:cs typeface="Open Sans" panose="020B0606030504020204" pitchFamily="34" charset="0"/>
              </a:rPr>
              <a:t>(Clinical Info and data)</a:t>
            </a:r>
          </a:p>
        </p:txBody>
      </p:sp>
      <p:cxnSp>
        <p:nvCxnSpPr>
          <p:cNvPr id="26" name="Straight Connector 25">
            <a:extLst>
              <a:ext uri="{FF2B5EF4-FFF2-40B4-BE49-F238E27FC236}">
                <a16:creationId xmlns:a16="http://schemas.microsoft.com/office/drawing/2014/main" id="{65D9C460-C518-41BD-A811-95B704ED9CDD}"/>
              </a:ext>
            </a:extLst>
          </p:cNvPr>
          <p:cNvCxnSpPr>
            <a:cxnSpLocks/>
            <a:stCxn id="12" idx="2"/>
            <a:endCxn id="25" idx="0"/>
          </p:cNvCxnSpPr>
          <p:nvPr/>
        </p:nvCxnSpPr>
        <p:spPr>
          <a:xfrm>
            <a:off x="2666686" y="4406574"/>
            <a:ext cx="3617294" cy="503710"/>
          </a:xfrm>
          <a:prstGeom prst="line">
            <a:avLst/>
          </a:prstGeom>
          <a:ln w="12700" cmpd="sng">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5E7DF4E1-00A2-431A-8114-90AD7B71F343}"/>
              </a:ext>
            </a:extLst>
          </p:cNvPr>
          <p:cNvGrpSpPr/>
          <p:nvPr/>
        </p:nvGrpSpPr>
        <p:grpSpPr>
          <a:xfrm>
            <a:off x="4493432" y="2605823"/>
            <a:ext cx="137537" cy="248909"/>
            <a:chOff x="1893888" y="3924300"/>
            <a:chExt cx="369888" cy="628650"/>
          </a:xfrm>
          <a:solidFill>
            <a:srgbClr val="002060"/>
          </a:solidFill>
        </p:grpSpPr>
        <p:sp>
          <p:nvSpPr>
            <p:cNvPr id="28" name="Freeform 37">
              <a:extLst>
                <a:ext uri="{FF2B5EF4-FFF2-40B4-BE49-F238E27FC236}">
                  <a16:creationId xmlns:a16="http://schemas.microsoft.com/office/drawing/2014/main" id="{C1F45008-1E38-44DE-9644-FD377DA7E2FC}"/>
                </a:ext>
              </a:extLst>
            </p:cNvPr>
            <p:cNvSpPr>
              <a:spLocks/>
            </p:cNvSpPr>
            <p:nvPr/>
          </p:nvSpPr>
          <p:spPr bwMode="auto">
            <a:xfrm>
              <a:off x="1893888" y="3924300"/>
              <a:ext cx="369888" cy="347663"/>
            </a:xfrm>
            <a:custGeom>
              <a:avLst/>
              <a:gdLst>
                <a:gd name="T0" fmla="*/ 40 w 67"/>
                <a:gd name="T1" fmla="*/ 9 h 63"/>
                <a:gd name="T2" fmla="*/ 27 w 67"/>
                <a:gd name="T3" fmla="*/ 13 h 63"/>
                <a:gd name="T4" fmla="*/ 13 w 67"/>
                <a:gd name="T5" fmla="*/ 0 h 63"/>
                <a:gd name="T6" fmla="*/ 0 w 67"/>
                <a:gd name="T7" fmla="*/ 14 h 63"/>
                <a:gd name="T8" fmla="*/ 13 w 67"/>
                <a:gd name="T9" fmla="*/ 27 h 63"/>
                <a:gd name="T10" fmla="*/ 15 w 67"/>
                <a:gd name="T11" fmla="*/ 27 h 63"/>
                <a:gd name="T12" fmla="*/ 13 w 67"/>
                <a:gd name="T13" fmla="*/ 36 h 63"/>
                <a:gd name="T14" fmla="*/ 40 w 67"/>
                <a:gd name="T15" fmla="*/ 63 h 63"/>
                <a:gd name="T16" fmla="*/ 67 w 67"/>
                <a:gd name="T17" fmla="*/ 36 h 63"/>
                <a:gd name="T18" fmla="*/ 40 w 67"/>
                <a:gd name="T19"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63">
                  <a:moveTo>
                    <a:pt x="40" y="9"/>
                  </a:moveTo>
                  <a:cubicBezTo>
                    <a:pt x="35" y="9"/>
                    <a:pt x="30" y="10"/>
                    <a:pt x="27" y="13"/>
                  </a:cubicBezTo>
                  <a:cubicBezTo>
                    <a:pt x="26" y="6"/>
                    <a:pt x="20" y="0"/>
                    <a:pt x="13" y="0"/>
                  </a:cubicBezTo>
                  <a:cubicBezTo>
                    <a:pt x="6" y="0"/>
                    <a:pt x="0" y="6"/>
                    <a:pt x="0" y="14"/>
                  </a:cubicBezTo>
                  <a:cubicBezTo>
                    <a:pt x="0" y="21"/>
                    <a:pt x="6" y="27"/>
                    <a:pt x="13" y="27"/>
                  </a:cubicBezTo>
                  <a:cubicBezTo>
                    <a:pt x="14" y="27"/>
                    <a:pt x="14" y="27"/>
                    <a:pt x="15" y="27"/>
                  </a:cubicBezTo>
                  <a:cubicBezTo>
                    <a:pt x="14" y="30"/>
                    <a:pt x="13" y="33"/>
                    <a:pt x="13" y="36"/>
                  </a:cubicBezTo>
                  <a:cubicBezTo>
                    <a:pt x="13" y="51"/>
                    <a:pt x="25" y="63"/>
                    <a:pt x="40" y="63"/>
                  </a:cubicBezTo>
                  <a:cubicBezTo>
                    <a:pt x="55" y="63"/>
                    <a:pt x="67" y="51"/>
                    <a:pt x="67" y="36"/>
                  </a:cubicBezTo>
                  <a:cubicBezTo>
                    <a:pt x="67" y="21"/>
                    <a:pt x="55" y="9"/>
                    <a:pt x="40" y="9"/>
                  </a:cubicBezTo>
                  <a:close/>
                </a:path>
              </a:pathLst>
            </a:custGeom>
            <a:solidFill>
              <a:srgbClr val="002060"/>
            </a:solidFill>
            <a:ln>
              <a:noFill/>
            </a:ln>
          </p:spPr>
          <p:txBody>
            <a:bodyPr vert="horz" wrap="square" lIns="68580" tIns="34290" rIns="68580" bIns="34290" numCol="1" anchor="t" anchorCtr="0" compatLnSpc="1">
              <a:prstTxWarp prst="textNoShape">
                <a:avLst/>
              </a:prstTxWarp>
            </a:bodyPr>
            <a:lstStyle/>
            <a:p>
              <a:endParaRPr lang="en-US" sz="1350">
                <a:latin typeface="Arial" panose="020B0604020202020204" pitchFamily="34" charset="0"/>
                <a:cs typeface="Arial" panose="020B0604020202020204" pitchFamily="34" charset="0"/>
                <a:sym typeface="Arial" panose="020B0604020202020204" pitchFamily="34" charset="0"/>
              </a:endParaRPr>
            </a:p>
          </p:txBody>
        </p:sp>
        <p:sp>
          <p:nvSpPr>
            <p:cNvPr id="29" name="Freeform 38">
              <a:extLst>
                <a:ext uri="{FF2B5EF4-FFF2-40B4-BE49-F238E27FC236}">
                  <a16:creationId xmlns:a16="http://schemas.microsoft.com/office/drawing/2014/main" id="{0F9138E9-FD99-4179-882B-6C6D774590D2}"/>
                </a:ext>
              </a:extLst>
            </p:cNvPr>
            <p:cNvSpPr>
              <a:spLocks/>
            </p:cNvSpPr>
            <p:nvPr/>
          </p:nvSpPr>
          <p:spPr bwMode="auto">
            <a:xfrm>
              <a:off x="1965326" y="4305300"/>
              <a:ext cx="138113" cy="247650"/>
            </a:xfrm>
            <a:custGeom>
              <a:avLst/>
              <a:gdLst>
                <a:gd name="T0" fmla="*/ 10 w 25"/>
                <a:gd name="T1" fmla="*/ 17 h 45"/>
                <a:gd name="T2" fmla="*/ 10 w 25"/>
                <a:gd name="T3" fmla="*/ 0 h 45"/>
                <a:gd name="T4" fmla="*/ 0 w 25"/>
                <a:gd name="T5" fmla="*/ 20 h 45"/>
                <a:gd name="T6" fmla="*/ 0 w 25"/>
                <a:gd name="T7" fmla="*/ 20 h 45"/>
                <a:gd name="T8" fmla="*/ 0 w 25"/>
                <a:gd name="T9" fmla="*/ 45 h 45"/>
                <a:gd name="T10" fmla="*/ 25 w 25"/>
                <a:gd name="T11" fmla="*/ 45 h 45"/>
                <a:gd name="T12" fmla="*/ 25 w 25"/>
                <a:gd name="T13" fmla="*/ 17 h 45"/>
                <a:gd name="T14" fmla="*/ 10 w 25"/>
                <a:gd name="T15" fmla="*/ 17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45">
                  <a:moveTo>
                    <a:pt x="10" y="17"/>
                  </a:moveTo>
                  <a:cubicBezTo>
                    <a:pt x="10" y="0"/>
                    <a:pt x="10" y="0"/>
                    <a:pt x="10" y="0"/>
                  </a:cubicBezTo>
                  <a:cubicBezTo>
                    <a:pt x="4" y="5"/>
                    <a:pt x="0" y="12"/>
                    <a:pt x="0" y="20"/>
                  </a:cubicBezTo>
                  <a:cubicBezTo>
                    <a:pt x="0" y="20"/>
                    <a:pt x="0" y="20"/>
                    <a:pt x="0" y="20"/>
                  </a:cubicBezTo>
                  <a:cubicBezTo>
                    <a:pt x="0" y="45"/>
                    <a:pt x="0" y="45"/>
                    <a:pt x="0" y="45"/>
                  </a:cubicBezTo>
                  <a:cubicBezTo>
                    <a:pt x="25" y="45"/>
                    <a:pt x="25" y="45"/>
                    <a:pt x="25" y="45"/>
                  </a:cubicBezTo>
                  <a:cubicBezTo>
                    <a:pt x="25" y="17"/>
                    <a:pt x="25" y="17"/>
                    <a:pt x="25" y="17"/>
                  </a:cubicBezTo>
                  <a:lnTo>
                    <a:pt x="10" y="17"/>
                  </a:lnTo>
                  <a:close/>
                </a:path>
              </a:pathLst>
            </a:custGeom>
            <a:grpFill/>
            <a:ln>
              <a:noFill/>
            </a:ln>
          </p:spPr>
          <p:txBody>
            <a:bodyPr vert="horz" wrap="square" lIns="68580" tIns="34290" rIns="68580" bIns="34290" numCol="1" anchor="t" anchorCtr="0" compatLnSpc="1">
              <a:prstTxWarp prst="textNoShape">
                <a:avLst/>
              </a:prstTxWarp>
            </a:bodyPr>
            <a:lstStyle/>
            <a:p>
              <a:endParaRPr lang="en-US" sz="1350">
                <a:latin typeface="Arial" panose="020B0604020202020204" pitchFamily="34" charset="0"/>
                <a:cs typeface="Arial" panose="020B0604020202020204" pitchFamily="34" charset="0"/>
                <a:sym typeface="Arial" panose="020B0604020202020204" pitchFamily="34" charset="0"/>
              </a:endParaRPr>
            </a:p>
          </p:txBody>
        </p:sp>
        <p:sp>
          <p:nvSpPr>
            <p:cNvPr id="30" name="Freeform 39">
              <a:extLst>
                <a:ext uri="{FF2B5EF4-FFF2-40B4-BE49-F238E27FC236}">
                  <a16:creationId xmlns:a16="http://schemas.microsoft.com/office/drawing/2014/main" id="{F56880CD-907D-4383-A709-38C2FB2E2BC0}"/>
                </a:ext>
              </a:extLst>
            </p:cNvPr>
            <p:cNvSpPr>
              <a:spLocks/>
            </p:cNvSpPr>
            <p:nvPr/>
          </p:nvSpPr>
          <p:spPr bwMode="auto">
            <a:xfrm>
              <a:off x="2125663" y="4316413"/>
              <a:ext cx="66675" cy="65088"/>
            </a:xfrm>
            <a:custGeom>
              <a:avLst/>
              <a:gdLst>
                <a:gd name="T0" fmla="*/ 42 w 42"/>
                <a:gd name="T1" fmla="*/ 41 h 41"/>
                <a:gd name="T2" fmla="*/ 42 w 42"/>
                <a:gd name="T3" fmla="*/ 0 h 41"/>
                <a:gd name="T4" fmla="*/ 0 w 42"/>
                <a:gd name="T5" fmla="*/ 41 h 41"/>
                <a:gd name="T6" fmla="*/ 42 w 42"/>
                <a:gd name="T7" fmla="*/ 41 h 41"/>
              </a:gdLst>
              <a:ahLst/>
              <a:cxnLst>
                <a:cxn ang="0">
                  <a:pos x="T0" y="T1"/>
                </a:cxn>
                <a:cxn ang="0">
                  <a:pos x="T2" y="T3"/>
                </a:cxn>
                <a:cxn ang="0">
                  <a:pos x="T4" y="T5"/>
                </a:cxn>
                <a:cxn ang="0">
                  <a:pos x="T6" y="T7"/>
                </a:cxn>
              </a:cxnLst>
              <a:rect l="0" t="0" r="r" b="b"/>
              <a:pathLst>
                <a:path w="42" h="41">
                  <a:moveTo>
                    <a:pt x="42" y="41"/>
                  </a:moveTo>
                  <a:lnTo>
                    <a:pt x="42" y="0"/>
                  </a:lnTo>
                  <a:lnTo>
                    <a:pt x="0" y="41"/>
                  </a:lnTo>
                  <a:lnTo>
                    <a:pt x="42" y="41"/>
                  </a:lnTo>
                  <a:close/>
                </a:path>
              </a:pathLst>
            </a:custGeom>
            <a:grpFill/>
            <a:ln>
              <a:noFill/>
            </a:ln>
          </p:spPr>
          <p:txBody>
            <a:bodyPr vert="horz" wrap="square" lIns="68580" tIns="34290" rIns="68580" bIns="34290" numCol="1" anchor="t" anchorCtr="0" compatLnSpc="1">
              <a:prstTxWarp prst="textNoShape">
                <a:avLst/>
              </a:prstTxWarp>
            </a:bodyPr>
            <a:lstStyle/>
            <a:p>
              <a:endParaRPr lang="en-US" sz="1350">
                <a:latin typeface="Arial" panose="020B0604020202020204" pitchFamily="34" charset="0"/>
                <a:cs typeface="Arial" panose="020B0604020202020204" pitchFamily="34" charset="0"/>
                <a:sym typeface="Arial" panose="020B0604020202020204" pitchFamily="34" charset="0"/>
              </a:endParaRPr>
            </a:p>
          </p:txBody>
        </p:sp>
        <p:sp>
          <p:nvSpPr>
            <p:cNvPr id="31" name="Freeform 40">
              <a:extLst>
                <a:ext uri="{FF2B5EF4-FFF2-40B4-BE49-F238E27FC236}">
                  <a16:creationId xmlns:a16="http://schemas.microsoft.com/office/drawing/2014/main" id="{F25DCBEA-9956-4090-9AA7-3A31E8093F7F}"/>
                </a:ext>
              </a:extLst>
            </p:cNvPr>
            <p:cNvSpPr>
              <a:spLocks/>
            </p:cNvSpPr>
            <p:nvPr/>
          </p:nvSpPr>
          <p:spPr bwMode="auto">
            <a:xfrm>
              <a:off x="2125663" y="4305300"/>
              <a:ext cx="138113" cy="247650"/>
            </a:xfrm>
            <a:custGeom>
              <a:avLst/>
              <a:gdLst>
                <a:gd name="T0" fmla="*/ 25 w 25"/>
                <a:gd name="T1" fmla="*/ 20 h 45"/>
                <a:gd name="T2" fmla="*/ 25 w 25"/>
                <a:gd name="T3" fmla="*/ 20 h 45"/>
                <a:gd name="T4" fmla="*/ 15 w 25"/>
                <a:gd name="T5" fmla="*/ 0 h 45"/>
                <a:gd name="T6" fmla="*/ 15 w 25"/>
                <a:gd name="T7" fmla="*/ 17 h 45"/>
                <a:gd name="T8" fmla="*/ 0 w 25"/>
                <a:gd name="T9" fmla="*/ 17 h 45"/>
                <a:gd name="T10" fmla="*/ 0 w 25"/>
                <a:gd name="T11" fmla="*/ 45 h 45"/>
                <a:gd name="T12" fmla="*/ 25 w 25"/>
                <a:gd name="T13" fmla="*/ 45 h 45"/>
                <a:gd name="T14" fmla="*/ 25 w 25"/>
                <a:gd name="T15" fmla="*/ 2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45">
                  <a:moveTo>
                    <a:pt x="25" y="20"/>
                  </a:moveTo>
                  <a:cubicBezTo>
                    <a:pt x="25" y="20"/>
                    <a:pt x="25" y="20"/>
                    <a:pt x="25" y="20"/>
                  </a:cubicBezTo>
                  <a:cubicBezTo>
                    <a:pt x="25" y="12"/>
                    <a:pt x="21" y="5"/>
                    <a:pt x="15" y="0"/>
                  </a:cubicBezTo>
                  <a:cubicBezTo>
                    <a:pt x="15" y="17"/>
                    <a:pt x="15" y="17"/>
                    <a:pt x="15" y="17"/>
                  </a:cubicBezTo>
                  <a:cubicBezTo>
                    <a:pt x="0" y="17"/>
                    <a:pt x="0" y="17"/>
                    <a:pt x="0" y="17"/>
                  </a:cubicBezTo>
                  <a:cubicBezTo>
                    <a:pt x="0" y="45"/>
                    <a:pt x="0" y="45"/>
                    <a:pt x="0" y="45"/>
                  </a:cubicBezTo>
                  <a:cubicBezTo>
                    <a:pt x="25" y="45"/>
                    <a:pt x="25" y="45"/>
                    <a:pt x="25" y="45"/>
                  </a:cubicBezTo>
                  <a:lnTo>
                    <a:pt x="25" y="20"/>
                  </a:lnTo>
                  <a:close/>
                </a:path>
              </a:pathLst>
            </a:custGeom>
            <a:grpFill/>
            <a:ln>
              <a:noFill/>
            </a:ln>
          </p:spPr>
          <p:txBody>
            <a:bodyPr vert="horz" wrap="square" lIns="68580" tIns="34290" rIns="68580" bIns="34290" numCol="1" anchor="t" anchorCtr="0" compatLnSpc="1">
              <a:prstTxWarp prst="textNoShape">
                <a:avLst/>
              </a:prstTxWarp>
            </a:bodyPr>
            <a:lstStyle/>
            <a:p>
              <a:endParaRPr lang="en-US" sz="1350">
                <a:latin typeface="Arial" panose="020B0604020202020204" pitchFamily="34" charset="0"/>
                <a:cs typeface="Arial" panose="020B0604020202020204" pitchFamily="34" charset="0"/>
                <a:sym typeface="Arial" panose="020B0604020202020204" pitchFamily="34" charset="0"/>
              </a:endParaRPr>
            </a:p>
          </p:txBody>
        </p:sp>
        <p:sp>
          <p:nvSpPr>
            <p:cNvPr id="32" name="Freeform 41">
              <a:extLst>
                <a:ext uri="{FF2B5EF4-FFF2-40B4-BE49-F238E27FC236}">
                  <a16:creationId xmlns:a16="http://schemas.microsoft.com/office/drawing/2014/main" id="{4F5BD544-9306-42DF-85E8-A2DE5E15EAC1}"/>
                </a:ext>
              </a:extLst>
            </p:cNvPr>
            <p:cNvSpPr>
              <a:spLocks/>
            </p:cNvSpPr>
            <p:nvPr/>
          </p:nvSpPr>
          <p:spPr bwMode="auto">
            <a:xfrm>
              <a:off x="2036763" y="4316413"/>
              <a:ext cx="66675" cy="65088"/>
            </a:xfrm>
            <a:custGeom>
              <a:avLst/>
              <a:gdLst>
                <a:gd name="T0" fmla="*/ 0 w 42"/>
                <a:gd name="T1" fmla="*/ 41 h 41"/>
                <a:gd name="T2" fmla="*/ 42 w 42"/>
                <a:gd name="T3" fmla="*/ 41 h 41"/>
                <a:gd name="T4" fmla="*/ 0 w 42"/>
                <a:gd name="T5" fmla="*/ 0 h 41"/>
                <a:gd name="T6" fmla="*/ 0 w 42"/>
                <a:gd name="T7" fmla="*/ 41 h 41"/>
              </a:gdLst>
              <a:ahLst/>
              <a:cxnLst>
                <a:cxn ang="0">
                  <a:pos x="T0" y="T1"/>
                </a:cxn>
                <a:cxn ang="0">
                  <a:pos x="T2" y="T3"/>
                </a:cxn>
                <a:cxn ang="0">
                  <a:pos x="T4" y="T5"/>
                </a:cxn>
                <a:cxn ang="0">
                  <a:pos x="T6" y="T7"/>
                </a:cxn>
              </a:cxnLst>
              <a:rect l="0" t="0" r="r" b="b"/>
              <a:pathLst>
                <a:path w="42" h="41">
                  <a:moveTo>
                    <a:pt x="0" y="41"/>
                  </a:moveTo>
                  <a:lnTo>
                    <a:pt x="42" y="41"/>
                  </a:lnTo>
                  <a:lnTo>
                    <a:pt x="0" y="0"/>
                  </a:lnTo>
                  <a:lnTo>
                    <a:pt x="0" y="41"/>
                  </a:lnTo>
                  <a:close/>
                </a:path>
              </a:pathLst>
            </a:custGeom>
            <a:grpFill/>
            <a:ln>
              <a:noFill/>
            </a:ln>
          </p:spPr>
          <p:txBody>
            <a:bodyPr vert="horz" wrap="square" lIns="68580" tIns="34290" rIns="68580" bIns="34290" numCol="1" anchor="t" anchorCtr="0" compatLnSpc="1">
              <a:prstTxWarp prst="textNoShape">
                <a:avLst/>
              </a:prstTxWarp>
            </a:bodyPr>
            <a:lstStyle/>
            <a:p>
              <a:endParaRPr lang="en-US" sz="1350">
                <a:latin typeface="Arial" panose="020B0604020202020204" pitchFamily="34" charset="0"/>
                <a:cs typeface="Arial" panose="020B0604020202020204" pitchFamily="34" charset="0"/>
                <a:sym typeface="Arial" panose="020B0604020202020204" pitchFamily="34" charset="0"/>
              </a:endParaRPr>
            </a:p>
          </p:txBody>
        </p:sp>
      </p:grpSp>
      <p:sp>
        <p:nvSpPr>
          <p:cNvPr id="33" name="TextBox 32">
            <a:extLst>
              <a:ext uri="{FF2B5EF4-FFF2-40B4-BE49-F238E27FC236}">
                <a16:creationId xmlns:a16="http://schemas.microsoft.com/office/drawing/2014/main" id="{63732A7F-4594-489D-90A1-64B6006E61FF}"/>
              </a:ext>
            </a:extLst>
          </p:cNvPr>
          <p:cNvSpPr txBox="1"/>
          <p:nvPr/>
        </p:nvSpPr>
        <p:spPr>
          <a:xfrm>
            <a:off x="4450915" y="2858329"/>
            <a:ext cx="293458" cy="118918"/>
          </a:xfrm>
          <a:prstGeom prst="rect">
            <a:avLst/>
          </a:prstGeom>
          <a:solidFill>
            <a:schemeClr val="bg1"/>
          </a:solidFill>
        </p:spPr>
        <p:txBody>
          <a:bodyPr wrap="square" lIns="0" tIns="0" rIns="0" bIns="0" rtlCol="0">
            <a:noAutofit/>
          </a:bodyPr>
          <a:lstStyle/>
          <a:p>
            <a:pPr defTabSz="342569" fontAlgn="base">
              <a:spcBef>
                <a:spcPts val="900"/>
              </a:spcBef>
            </a:pPr>
            <a:r>
              <a:rPr lang="en-US" sz="900" dirty="0">
                <a:solidFill>
                  <a:srgbClr val="064E69"/>
                </a:solidFill>
                <a:cs typeface="Open Sans Light"/>
              </a:rPr>
              <a:t>CMO</a:t>
            </a:r>
          </a:p>
        </p:txBody>
      </p:sp>
      <p:sp>
        <p:nvSpPr>
          <p:cNvPr id="34" name="Rectangle: Rounded Corners 33">
            <a:extLst>
              <a:ext uri="{FF2B5EF4-FFF2-40B4-BE49-F238E27FC236}">
                <a16:creationId xmlns:a16="http://schemas.microsoft.com/office/drawing/2014/main" id="{A2882D32-FBEF-48F4-92E7-8C16A781DD2A}"/>
              </a:ext>
            </a:extLst>
          </p:cNvPr>
          <p:cNvSpPr/>
          <p:nvPr/>
        </p:nvSpPr>
        <p:spPr>
          <a:xfrm>
            <a:off x="5590668" y="5586265"/>
            <a:ext cx="1386624" cy="530679"/>
          </a:xfrm>
          <a:prstGeom prst="round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latin typeface="+mj-lt"/>
                <a:cs typeface="Open Sans Bold"/>
              </a:rPr>
              <a:t>Quality  Management</a:t>
            </a:r>
          </a:p>
        </p:txBody>
      </p:sp>
      <p:sp>
        <p:nvSpPr>
          <p:cNvPr id="35" name="Freeform 24">
            <a:extLst>
              <a:ext uri="{FF2B5EF4-FFF2-40B4-BE49-F238E27FC236}">
                <a16:creationId xmlns:a16="http://schemas.microsoft.com/office/drawing/2014/main" id="{20FEFAFF-F1C2-467E-AE3B-0C73F0AE61BE}"/>
              </a:ext>
            </a:extLst>
          </p:cNvPr>
          <p:cNvSpPr>
            <a:spLocks noEditPoints="1"/>
          </p:cNvSpPr>
          <p:nvPr/>
        </p:nvSpPr>
        <p:spPr bwMode="auto">
          <a:xfrm>
            <a:off x="5174847" y="2594459"/>
            <a:ext cx="336598" cy="220932"/>
          </a:xfrm>
          <a:custGeom>
            <a:avLst/>
            <a:gdLst/>
            <a:ahLst/>
            <a:cxnLst>
              <a:cxn ang="0">
                <a:pos x="231" y="141"/>
              </a:cxn>
              <a:cxn ang="0">
                <a:pos x="206" y="82"/>
              </a:cxn>
              <a:cxn ang="0">
                <a:pos x="217" y="156"/>
              </a:cxn>
              <a:cxn ang="0">
                <a:pos x="210" y="168"/>
              </a:cxn>
              <a:cxn ang="0">
                <a:pos x="208" y="165"/>
              </a:cxn>
              <a:cxn ang="0">
                <a:pos x="157" y="137"/>
              </a:cxn>
              <a:cxn ang="0">
                <a:pos x="141" y="71"/>
              </a:cxn>
              <a:cxn ang="0">
                <a:pos x="144" y="62"/>
              </a:cxn>
              <a:cxn ang="0">
                <a:pos x="201" y="48"/>
              </a:cxn>
              <a:cxn ang="0">
                <a:pos x="219" y="62"/>
              </a:cxn>
              <a:cxn ang="0">
                <a:pos x="234" y="141"/>
              </a:cxn>
              <a:cxn ang="0">
                <a:pos x="170" y="198"/>
              </a:cxn>
              <a:cxn ang="0">
                <a:pos x="164" y="242"/>
              </a:cxn>
              <a:cxn ang="0">
                <a:pos x="81" y="242"/>
              </a:cxn>
              <a:cxn ang="0">
                <a:pos x="75" y="198"/>
              </a:cxn>
              <a:cxn ang="0">
                <a:pos x="40" y="219"/>
              </a:cxn>
              <a:cxn ang="0">
                <a:pos x="48" y="169"/>
              </a:cxn>
              <a:cxn ang="0">
                <a:pos x="104" y="149"/>
              </a:cxn>
              <a:cxn ang="0">
                <a:pos x="141" y="149"/>
              </a:cxn>
              <a:cxn ang="0">
                <a:pos x="196" y="169"/>
              </a:cxn>
              <a:cxn ang="0">
                <a:pos x="204" y="219"/>
              </a:cxn>
              <a:cxn ang="0">
                <a:pos x="35" y="169"/>
              </a:cxn>
              <a:cxn ang="0">
                <a:pos x="36" y="80"/>
              </a:cxn>
              <a:cxn ang="0">
                <a:pos x="21" y="131"/>
              </a:cxn>
              <a:cxn ang="0">
                <a:pos x="9" y="140"/>
              </a:cxn>
              <a:cxn ang="0">
                <a:pos x="12" y="61"/>
              </a:cxn>
              <a:cxn ang="0">
                <a:pos x="31" y="47"/>
              </a:cxn>
              <a:cxn ang="0">
                <a:pos x="62" y="69"/>
              </a:cxn>
              <a:cxn ang="0">
                <a:pos x="94" y="47"/>
              </a:cxn>
              <a:cxn ang="0">
                <a:pos x="113" y="61"/>
              </a:cxn>
              <a:cxn ang="0">
                <a:pos x="91" y="80"/>
              </a:cxn>
              <a:cxn ang="0">
                <a:pos x="90" y="81"/>
              </a:cxn>
              <a:cxn ang="0">
                <a:pos x="87" y="137"/>
              </a:cxn>
              <a:cxn ang="0">
                <a:pos x="36" y="165"/>
              </a:cxn>
              <a:cxn ang="0">
                <a:pos x="62" y="0"/>
              </a:cxn>
              <a:cxn ang="0">
                <a:pos x="62" y="40"/>
              </a:cxn>
              <a:cxn ang="0">
                <a:pos x="62" y="0"/>
              </a:cxn>
              <a:cxn ang="0">
                <a:pos x="154" y="110"/>
              </a:cxn>
              <a:cxn ang="0">
                <a:pos x="91" y="110"/>
              </a:cxn>
              <a:cxn ang="0">
                <a:pos x="182" y="0"/>
              </a:cxn>
              <a:cxn ang="0">
                <a:pos x="182" y="40"/>
              </a:cxn>
              <a:cxn ang="0">
                <a:pos x="182" y="0"/>
              </a:cxn>
            </a:cxnLst>
            <a:rect l="0" t="0" r="r" b="b"/>
            <a:pathLst>
              <a:path w="241" h="248">
                <a:moveTo>
                  <a:pt x="234" y="141"/>
                </a:moveTo>
                <a:cubicBezTo>
                  <a:pt x="233" y="141"/>
                  <a:pt x="232" y="141"/>
                  <a:pt x="231" y="141"/>
                </a:cubicBezTo>
                <a:cubicBezTo>
                  <a:pt x="227" y="141"/>
                  <a:pt x="223" y="139"/>
                  <a:pt x="222" y="134"/>
                </a:cubicBezTo>
                <a:cubicBezTo>
                  <a:pt x="206" y="82"/>
                  <a:pt x="206" y="82"/>
                  <a:pt x="206" y="82"/>
                </a:cubicBezTo>
                <a:cubicBezTo>
                  <a:pt x="198" y="82"/>
                  <a:pt x="198" y="82"/>
                  <a:pt x="198" y="82"/>
                </a:cubicBezTo>
                <a:cubicBezTo>
                  <a:pt x="217" y="156"/>
                  <a:pt x="217" y="156"/>
                  <a:pt x="217" y="156"/>
                </a:cubicBezTo>
                <a:cubicBezTo>
                  <a:pt x="218" y="157"/>
                  <a:pt x="218" y="158"/>
                  <a:pt x="218" y="160"/>
                </a:cubicBezTo>
                <a:cubicBezTo>
                  <a:pt x="218" y="164"/>
                  <a:pt x="214" y="168"/>
                  <a:pt x="210" y="168"/>
                </a:cubicBezTo>
                <a:cubicBezTo>
                  <a:pt x="209" y="168"/>
                  <a:pt x="209" y="168"/>
                  <a:pt x="209" y="168"/>
                </a:cubicBezTo>
                <a:cubicBezTo>
                  <a:pt x="208" y="167"/>
                  <a:pt x="208" y="166"/>
                  <a:pt x="208" y="165"/>
                </a:cubicBezTo>
                <a:cubicBezTo>
                  <a:pt x="203" y="148"/>
                  <a:pt x="186" y="137"/>
                  <a:pt x="168" y="137"/>
                </a:cubicBezTo>
                <a:cubicBezTo>
                  <a:pt x="157" y="137"/>
                  <a:pt x="157" y="137"/>
                  <a:pt x="157" y="137"/>
                </a:cubicBezTo>
                <a:cubicBezTo>
                  <a:pt x="163" y="129"/>
                  <a:pt x="166" y="120"/>
                  <a:pt x="166" y="110"/>
                </a:cubicBezTo>
                <a:cubicBezTo>
                  <a:pt x="166" y="93"/>
                  <a:pt x="156" y="78"/>
                  <a:pt x="141" y="71"/>
                </a:cubicBezTo>
                <a:cubicBezTo>
                  <a:pt x="144" y="62"/>
                  <a:pt x="144" y="62"/>
                  <a:pt x="144" y="62"/>
                </a:cubicBezTo>
                <a:cubicBezTo>
                  <a:pt x="144" y="62"/>
                  <a:pt x="144" y="62"/>
                  <a:pt x="144" y="62"/>
                </a:cubicBezTo>
                <a:cubicBezTo>
                  <a:pt x="147" y="53"/>
                  <a:pt x="154" y="48"/>
                  <a:pt x="162" y="48"/>
                </a:cubicBezTo>
                <a:cubicBezTo>
                  <a:pt x="201" y="48"/>
                  <a:pt x="201" y="48"/>
                  <a:pt x="201" y="48"/>
                </a:cubicBezTo>
                <a:cubicBezTo>
                  <a:pt x="209" y="48"/>
                  <a:pt x="216" y="53"/>
                  <a:pt x="219" y="62"/>
                </a:cubicBezTo>
                <a:cubicBezTo>
                  <a:pt x="219" y="62"/>
                  <a:pt x="219" y="62"/>
                  <a:pt x="219" y="62"/>
                </a:cubicBezTo>
                <a:cubicBezTo>
                  <a:pt x="240" y="129"/>
                  <a:pt x="240" y="129"/>
                  <a:pt x="240" y="129"/>
                </a:cubicBezTo>
                <a:cubicBezTo>
                  <a:pt x="241" y="134"/>
                  <a:pt x="238" y="139"/>
                  <a:pt x="234" y="141"/>
                </a:cubicBezTo>
                <a:close/>
                <a:moveTo>
                  <a:pt x="176" y="237"/>
                </a:moveTo>
                <a:cubicBezTo>
                  <a:pt x="170" y="198"/>
                  <a:pt x="170" y="198"/>
                  <a:pt x="170" y="198"/>
                </a:cubicBezTo>
                <a:cubicBezTo>
                  <a:pt x="162" y="198"/>
                  <a:pt x="162" y="198"/>
                  <a:pt x="162" y="198"/>
                </a:cubicBezTo>
                <a:cubicBezTo>
                  <a:pt x="164" y="242"/>
                  <a:pt x="164" y="242"/>
                  <a:pt x="164" y="242"/>
                </a:cubicBezTo>
                <a:cubicBezTo>
                  <a:pt x="151" y="246"/>
                  <a:pt x="137" y="248"/>
                  <a:pt x="122" y="248"/>
                </a:cubicBezTo>
                <a:cubicBezTo>
                  <a:pt x="108" y="248"/>
                  <a:pt x="94" y="246"/>
                  <a:pt x="81" y="242"/>
                </a:cubicBezTo>
                <a:cubicBezTo>
                  <a:pt x="83" y="198"/>
                  <a:pt x="83" y="198"/>
                  <a:pt x="83" y="198"/>
                </a:cubicBezTo>
                <a:cubicBezTo>
                  <a:pt x="75" y="198"/>
                  <a:pt x="75" y="198"/>
                  <a:pt x="75" y="198"/>
                </a:cubicBezTo>
                <a:cubicBezTo>
                  <a:pt x="67" y="237"/>
                  <a:pt x="67" y="237"/>
                  <a:pt x="67" y="237"/>
                </a:cubicBezTo>
                <a:cubicBezTo>
                  <a:pt x="57" y="232"/>
                  <a:pt x="48" y="226"/>
                  <a:pt x="40" y="219"/>
                </a:cubicBezTo>
                <a:cubicBezTo>
                  <a:pt x="48" y="171"/>
                  <a:pt x="48" y="171"/>
                  <a:pt x="48" y="171"/>
                </a:cubicBezTo>
                <a:cubicBezTo>
                  <a:pt x="48" y="170"/>
                  <a:pt x="48" y="169"/>
                  <a:pt x="48" y="169"/>
                </a:cubicBezTo>
                <a:cubicBezTo>
                  <a:pt x="52" y="157"/>
                  <a:pt x="63" y="149"/>
                  <a:pt x="77" y="149"/>
                </a:cubicBezTo>
                <a:cubicBezTo>
                  <a:pt x="104" y="149"/>
                  <a:pt x="104" y="149"/>
                  <a:pt x="104" y="149"/>
                </a:cubicBezTo>
                <a:cubicBezTo>
                  <a:pt x="123" y="182"/>
                  <a:pt x="123" y="182"/>
                  <a:pt x="123" y="182"/>
                </a:cubicBezTo>
                <a:cubicBezTo>
                  <a:pt x="141" y="149"/>
                  <a:pt x="141" y="149"/>
                  <a:pt x="141" y="149"/>
                </a:cubicBezTo>
                <a:cubicBezTo>
                  <a:pt x="168" y="149"/>
                  <a:pt x="168" y="149"/>
                  <a:pt x="168" y="149"/>
                </a:cubicBezTo>
                <a:cubicBezTo>
                  <a:pt x="181" y="149"/>
                  <a:pt x="192" y="157"/>
                  <a:pt x="196" y="169"/>
                </a:cubicBezTo>
                <a:cubicBezTo>
                  <a:pt x="196" y="169"/>
                  <a:pt x="196" y="170"/>
                  <a:pt x="196" y="171"/>
                </a:cubicBezTo>
                <a:cubicBezTo>
                  <a:pt x="204" y="219"/>
                  <a:pt x="204" y="219"/>
                  <a:pt x="204" y="219"/>
                </a:cubicBezTo>
                <a:cubicBezTo>
                  <a:pt x="196" y="226"/>
                  <a:pt x="186" y="232"/>
                  <a:pt x="176" y="237"/>
                </a:cubicBezTo>
                <a:close/>
                <a:moveTo>
                  <a:pt x="35" y="169"/>
                </a:moveTo>
                <a:cubicBezTo>
                  <a:pt x="34" y="174"/>
                  <a:pt x="34" y="174"/>
                  <a:pt x="34" y="174"/>
                </a:cubicBezTo>
                <a:cubicBezTo>
                  <a:pt x="36" y="80"/>
                  <a:pt x="36" y="80"/>
                  <a:pt x="36" y="80"/>
                </a:cubicBezTo>
                <a:cubicBezTo>
                  <a:pt x="30" y="80"/>
                  <a:pt x="30" y="80"/>
                  <a:pt x="30" y="80"/>
                </a:cubicBezTo>
                <a:cubicBezTo>
                  <a:pt x="21" y="131"/>
                  <a:pt x="21" y="131"/>
                  <a:pt x="21" y="131"/>
                </a:cubicBezTo>
                <a:cubicBezTo>
                  <a:pt x="20" y="136"/>
                  <a:pt x="16" y="140"/>
                  <a:pt x="11" y="140"/>
                </a:cubicBezTo>
                <a:cubicBezTo>
                  <a:pt x="11" y="140"/>
                  <a:pt x="10" y="140"/>
                  <a:pt x="9" y="140"/>
                </a:cubicBezTo>
                <a:cubicBezTo>
                  <a:pt x="4" y="139"/>
                  <a:pt x="0" y="133"/>
                  <a:pt x="1" y="128"/>
                </a:cubicBezTo>
                <a:cubicBezTo>
                  <a:pt x="12" y="61"/>
                  <a:pt x="12" y="61"/>
                  <a:pt x="12" y="61"/>
                </a:cubicBezTo>
                <a:cubicBezTo>
                  <a:pt x="12" y="60"/>
                  <a:pt x="12" y="60"/>
                  <a:pt x="12" y="60"/>
                </a:cubicBezTo>
                <a:cubicBezTo>
                  <a:pt x="15" y="52"/>
                  <a:pt x="23" y="47"/>
                  <a:pt x="31" y="47"/>
                </a:cubicBezTo>
                <a:cubicBezTo>
                  <a:pt x="49" y="47"/>
                  <a:pt x="49" y="47"/>
                  <a:pt x="49" y="47"/>
                </a:cubicBezTo>
                <a:cubicBezTo>
                  <a:pt x="62" y="69"/>
                  <a:pt x="62" y="69"/>
                  <a:pt x="62" y="69"/>
                </a:cubicBezTo>
                <a:cubicBezTo>
                  <a:pt x="76" y="47"/>
                  <a:pt x="76" y="47"/>
                  <a:pt x="76" y="47"/>
                </a:cubicBezTo>
                <a:cubicBezTo>
                  <a:pt x="94" y="47"/>
                  <a:pt x="94" y="47"/>
                  <a:pt x="94" y="47"/>
                </a:cubicBezTo>
                <a:cubicBezTo>
                  <a:pt x="103" y="47"/>
                  <a:pt x="110" y="52"/>
                  <a:pt x="113" y="60"/>
                </a:cubicBezTo>
                <a:cubicBezTo>
                  <a:pt x="113" y="61"/>
                  <a:pt x="113" y="61"/>
                  <a:pt x="113" y="61"/>
                </a:cubicBezTo>
                <a:cubicBezTo>
                  <a:pt x="114" y="67"/>
                  <a:pt x="114" y="67"/>
                  <a:pt x="114" y="67"/>
                </a:cubicBezTo>
                <a:cubicBezTo>
                  <a:pt x="105" y="69"/>
                  <a:pt x="97" y="73"/>
                  <a:pt x="91" y="80"/>
                </a:cubicBezTo>
                <a:cubicBezTo>
                  <a:pt x="90" y="80"/>
                  <a:pt x="90" y="80"/>
                  <a:pt x="90" y="80"/>
                </a:cubicBezTo>
                <a:cubicBezTo>
                  <a:pt x="90" y="81"/>
                  <a:pt x="90" y="81"/>
                  <a:pt x="90" y="81"/>
                </a:cubicBezTo>
                <a:cubicBezTo>
                  <a:pt x="83" y="88"/>
                  <a:pt x="79" y="99"/>
                  <a:pt x="79" y="110"/>
                </a:cubicBezTo>
                <a:cubicBezTo>
                  <a:pt x="79" y="120"/>
                  <a:pt x="82" y="129"/>
                  <a:pt x="87" y="137"/>
                </a:cubicBezTo>
                <a:cubicBezTo>
                  <a:pt x="77" y="137"/>
                  <a:pt x="77" y="137"/>
                  <a:pt x="77" y="137"/>
                </a:cubicBezTo>
                <a:cubicBezTo>
                  <a:pt x="58" y="137"/>
                  <a:pt x="41" y="148"/>
                  <a:pt x="36" y="165"/>
                </a:cubicBezTo>
                <a:cubicBezTo>
                  <a:pt x="36" y="166"/>
                  <a:pt x="35" y="167"/>
                  <a:pt x="35" y="169"/>
                </a:cubicBezTo>
                <a:close/>
                <a:moveTo>
                  <a:pt x="62" y="0"/>
                </a:moveTo>
                <a:cubicBezTo>
                  <a:pt x="74" y="0"/>
                  <a:pt x="83" y="9"/>
                  <a:pt x="83" y="20"/>
                </a:cubicBezTo>
                <a:cubicBezTo>
                  <a:pt x="83" y="31"/>
                  <a:pt x="74" y="40"/>
                  <a:pt x="62" y="40"/>
                </a:cubicBezTo>
                <a:cubicBezTo>
                  <a:pt x="51" y="40"/>
                  <a:pt x="42" y="31"/>
                  <a:pt x="42" y="20"/>
                </a:cubicBezTo>
                <a:cubicBezTo>
                  <a:pt x="42" y="9"/>
                  <a:pt x="51" y="0"/>
                  <a:pt x="62" y="0"/>
                </a:cubicBezTo>
                <a:close/>
                <a:moveTo>
                  <a:pt x="122" y="79"/>
                </a:moveTo>
                <a:cubicBezTo>
                  <a:pt x="140" y="79"/>
                  <a:pt x="154" y="93"/>
                  <a:pt x="154" y="110"/>
                </a:cubicBezTo>
                <a:cubicBezTo>
                  <a:pt x="154" y="127"/>
                  <a:pt x="140" y="141"/>
                  <a:pt x="122" y="141"/>
                </a:cubicBezTo>
                <a:cubicBezTo>
                  <a:pt x="105" y="141"/>
                  <a:pt x="91" y="127"/>
                  <a:pt x="91" y="110"/>
                </a:cubicBezTo>
                <a:cubicBezTo>
                  <a:pt x="91" y="93"/>
                  <a:pt x="105" y="79"/>
                  <a:pt x="122" y="79"/>
                </a:cubicBezTo>
                <a:close/>
                <a:moveTo>
                  <a:pt x="182" y="0"/>
                </a:moveTo>
                <a:cubicBezTo>
                  <a:pt x="193" y="0"/>
                  <a:pt x="201" y="9"/>
                  <a:pt x="201" y="20"/>
                </a:cubicBezTo>
                <a:cubicBezTo>
                  <a:pt x="201" y="31"/>
                  <a:pt x="193" y="40"/>
                  <a:pt x="182" y="40"/>
                </a:cubicBezTo>
                <a:cubicBezTo>
                  <a:pt x="171" y="40"/>
                  <a:pt x="162" y="31"/>
                  <a:pt x="162" y="20"/>
                </a:cubicBezTo>
                <a:cubicBezTo>
                  <a:pt x="162" y="9"/>
                  <a:pt x="171" y="0"/>
                  <a:pt x="182" y="0"/>
                </a:cubicBezTo>
                <a:close/>
              </a:path>
            </a:pathLst>
          </a:custGeom>
          <a:solidFill>
            <a:srgbClr val="003C54"/>
          </a:solidFill>
          <a:ln w="9525">
            <a:noFill/>
            <a:round/>
            <a:headEnd/>
            <a:tailEnd/>
          </a:ln>
        </p:spPr>
        <p:txBody>
          <a:bodyPr vert="horz" wrap="square" lIns="75613" tIns="37806" rIns="75613" bIns="37806" numCol="1" anchor="t" anchorCtr="0" compatLnSpc="1">
            <a:prstTxWarp prst="textNoShape">
              <a:avLst/>
            </a:prstTxWarp>
          </a:bodyPr>
          <a:lstStyle/>
          <a:p>
            <a:endParaRPr lang="en-US" sz="1654">
              <a:latin typeface="Arial" panose="020B0604020202020204" pitchFamily="34" charset="0"/>
              <a:cs typeface="Arial" panose="020B0604020202020204" pitchFamily="34" charset="0"/>
              <a:sym typeface="Arial" panose="020B0604020202020204" pitchFamily="34" charset="0"/>
            </a:endParaRPr>
          </a:p>
        </p:txBody>
      </p:sp>
      <p:sp>
        <p:nvSpPr>
          <p:cNvPr id="36" name="TextBox 35">
            <a:extLst>
              <a:ext uri="{FF2B5EF4-FFF2-40B4-BE49-F238E27FC236}">
                <a16:creationId xmlns:a16="http://schemas.microsoft.com/office/drawing/2014/main" id="{C167D971-221A-47DD-A06D-D0B426CE3D41}"/>
              </a:ext>
            </a:extLst>
          </p:cNvPr>
          <p:cNvSpPr txBox="1"/>
          <p:nvPr/>
        </p:nvSpPr>
        <p:spPr>
          <a:xfrm>
            <a:off x="4957150" y="2805568"/>
            <a:ext cx="869847" cy="175205"/>
          </a:xfrm>
          <a:prstGeom prst="rect">
            <a:avLst/>
          </a:prstGeom>
          <a:solidFill>
            <a:schemeClr val="bg1"/>
          </a:solidFill>
        </p:spPr>
        <p:txBody>
          <a:bodyPr wrap="square" lIns="0" tIns="0" rIns="0" bIns="0" rtlCol="0">
            <a:noAutofit/>
          </a:bodyPr>
          <a:lstStyle/>
          <a:p>
            <a:pPr algn="ctr" defTabSz="342569" fontAlgn="base"/>
            <a:r>
              <a:rPr lang="en-US" sz="900" dirty="0">
                <a:solidFill>
                  <a:srgbClr val="064E69"/>
                </a:solidFill>
                <a:cs typeface="Open Sans Light"/>
              </a:rPr>
              <a:t>Data Analysts</a:t>
            </a:r>
          </a:p>
          <a:p>
            <a:pPr algn="ctr" defTabSz="342569" fontAlgn="base"/>
            <a:r>
              <a:rPr lang="en-US" sz="900" dirty="0">
                <a:solidFill>
                  <a:srgbClr val="064E69"/>
                </a:solidFill>
                <a:cs typeface="Open Sans Light"/>
              </a:rPr>
              <a:t>Outreach Teams</a:t>
            </a:r>
          </a:p>
        </p:txBody>
      </p:sp>
      <p:cxnSp>
        <p:nvCxnSpPr>
          <p:cNvPr id="37" name="Straight Connector 36">
            <a:extLst>
              <a:ext uri="{FF2B5EF4-FFF2-40B4-BE49-F238E27FC236}">
                <a16:creationId xmlns:a16="http://schemas.microsoft.com/office/drawing/2014/main" id="{0FDC03C6-DBFC-438D-80B0-4A4E82107DCE}"/>
              </a:ext>
            </a:extLst>
          </p:cNvPr>
          <p:cNvCxnSpPr>
            <a:cxnSpLocks/>
            <a:stCxn id="9" idx="2"/>
            <a:endCxn id="25" idx="0"/>
          </p:cNvCxnSpPr>
          <p:nvPr/>
        </p:nvCxnSpPr>
        <p:spPr>
          <a:xfrm flipH="1">
            <a:off x="6283980" y="4410028"/>
            <a:ext cx="1727737" cy="500256"/>
          </a:xfrm>
          <a:prstGeom prst="line">
            <a:avLst/>
          </a:prstGeom>
          <a:ln w="1270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3826C1CC-583E-4C37-A635-C2D0367BDC2B}"/>
              </a:ext>
            </a:extLst>
          </p:cNvPr>
          <p:cNvSpPr txBox="1"/>
          <p:nvPr/>
        </p:nvSpPr>
        <p:spPr>
          <a:xfrm>
            <a:off x="5311203" y="3229124"/>
            <a:ext cx="685800" cy="685800"/>
          </a:xfrm>
          <a:prstGeom prst="rect">
            <a:avLst/>
          </a:prstGeom>
          <a:noFill/>
        </p:spPr>
        <p:txBody>
          <a:bodyPr wrap="none" lIns="0" tIns="0" rIns="0" bIns="0" rtlCol="0">
            <a:noAutofit/>
          </a:bodyPr>
          <a:lstStyle/>
          <a:p>
            <a:pPr defTabSz="342569" fontAlgn="base">
              <a:spcBef>
                <a:spcPts val="900"/>
              </a:spcBef>
            </a:pPr>
            <a:endParaRPr lang="en-US" sz="1350" dirty="0" err="1">
              <a:solidFill>
                <a:schemeClr val="tx2"/>
              </a:solidFill>
              <a:cs typeface="Open Sans Light"/>
            </a:endParaRPr>
          </a:p>
        </p:txBody>
      </p:sp>
      <p:sp>
        <p:nvSpPr>
          <p:cNvPr id="39" name="TextBox 38">
            <a:extLst>
              <a:ext uri="{FF2B5EF4-FFF2-40B4-BE49-F238E27FC236}">
                <a16:creationId xmlns:a16="http://schemas.microsoft.com/office/drawing/2014/main" id="{7CD05ADB-4083-4F25-B562-0048EA18817E}"/>
              </a:ext>
            </a:extLst>
          </p:cNvPr>
          <p:cNvSpPr txBox="1"/>
          <p:nvPr/>
        </p:nvSpPr>
        <p:spPr>
          <a:xfrm>
            <a:off x="719528" y="2530894"/>
            <a:ext cx="1218534" cy="195145"/>
          </a:xfrm>
          <a:prstGeom prst="rect">
            <a:avLst/>
          </a:prstGeom>
          <a:noFill/>
        </p:spPr>
        <p:txBody>
          <a:bodyPr wrap="none" lIns="0" tIns="0" rIns="0" bIns="0" rtlCol="0">
            <a:noAutofit/>
          </a:bodyPr>
          <a:lstStyle/>
          <a:p>
            <a:pPr defTabSz="342569" fontAlgn="base">
              <a:spcBef>
                <a:spcPts val="900"/>
              </a:spcBef>
            </a:pPr>
            <a:r>
              <a:rPr lang="en-US" sz="1600" b="1" dirty="0">
                <a:solidFill>
                  <a:srgbClr val="003C54"/>
                </a:solidFill>
                <a:cs typeface="Open Sans Light"/>
              </a:rPr>
              <a:t>Clinical Platform </a:t>
            </a:r>
          </a:p>
        </p:txBody>
      </p:sp>
      <p:sp>
        <p:nvSpPr>
          <p:cNvPr id="40" name="Rectangle 39">
            <a:extLst>
              <a:ext uri="{FF2B5EF4-FFF2-40B4-BE49-F238E27FC236}">
                <a16:creationId xmlns:a16="http://schemas.microsoft.com/office/drawing/2014/main" id="{70E3DF99-FA5F-4790-ABA1-8660747F2223}"/>
              </a:ext>
            </a:extLst>
          </p:cNvPr>
          <p:cNvSpPr/>
          <p:nvPr/>
        </p:nvSpPr>
        <p:spPr>
          <a:xfrm>
            <a:off x="678267" y="2519905"/>
            <a:ext cx="10448144" cy="387766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latin typeface="+mj-lt"/>
              <a:cs typeface="Open Sans Bold"/>
            </a:endParaRPr>
          </a:p>
        </p:txBody>
      </p:sp>
      <p:sp>
        <p:nvSpPr>
          <p:cNvPr id="41" name="Rectangle: Rounded Corners 40">
            <a:extLst>
              <a:ext uri="{FF2B5EF4-FFF2-40B4-BE49-F238E27FC236}">
                <a16:creationId xmlns:a16="http://schemas.microsoft.com/office/drawing/2014/main" id="{E9838CC3-6B13-4E93-8988-656D6AFFDDA6}"/>
              </a:ext>
            </a:extLst>
          </p:cNvPr>
          <p:cNvSpPr/>
          <p:nvPr/>
        </p:nvSpPr>
        <p:spPr>
          <a:xfrm>
            <a:off x="4764952" y="3229124"/>
            <a:ext cx="1386624" cy="530679"/>
          </a:xfrm>
          <a:prstGeom prst="round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latin typeface="+mj-lt"/>
                <a:cs typeface="Open Sans Bold"/>
              </a:rPr>
              <a:t>Wellness Management</a:t>
            </a:r>
          </a:p>
        </p:txBody>
      </p:sp>
      <p:sp>
        <p:nvSpPr>
          <p:cNvPr id="42" name="Rectangle: Rounded Corners 41">
            <a:extLst>
              <a:ext uri="{FF2B5EF4-FFF2-40B4-BE49-F238E27FC236}">
                <a16:creationId xmlns:a16="http://schemas.microsoft.com/office/drawing/2014/main" id="{A96C36A7-573D-4B53-B055-B52B067CE681}"/>
              </a:ext>
            </a:extLst>
          </p:cNvPr>
          <p:cNvSpPr/>
          <p:nvPr/>
        </p:nvSpPr>
        <p:spPr>
          <a:xfrm>
            <a:off x="3450494" y="3229124"/>
            <a:ext cx="1386119" cy="530679"/>
          </a:xfrm>
          <a:prstGeom prst="round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latin typeface="+mj-lt"/>
                <a:cs typeface="Open Sans Bold"/>
              </a:rPr>
              <a:t>Disease</a:t>
            </a:r>
          </a:p>
          <a:p>
            <a:pPr algn="ctr"/>
            <a:r>
              <a:rPr lang="en-US" sz="1350" dirty="0">
                <a:latin typeface="+mj-lt"/>
                <a:cs typeface="Open Sans Bold"/>
              </a:rPr>
              <a:t>Management</a:t>
            </a:r>
          </a:p>
        </p:txBody>
      </p:sp>
      <p:sp>
        <p:nvSpPr>
          <p:cNvPr id="43" name="Rectangle: Rounded Corners 42">
            <a:extLst>
              <a:ext uri="{FF2B5EF4-FFF2-40B4-BE49-F238E27FC236}">
                <a16:creationId xmlns:a16="http://schemas.microsoft.com/office/drawing/2014/main" id="{76994F8E-CF6A-40B9-95B9-E106B0F3DA03}"/>
              </a:ext>
            </a:extLst>
          </p:cNvPr>
          <p:cNvSpPr/>
          <p:nvPr/>
        </p:nvSpPr>
        <p:spPr>
          <a:xfrm>
            <a:off x="6085399" y="3229124"/>
            <a:ext cx="1386119" cy="530679"/>
          </a:xfrm>
          <a:prstGeom prst="round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latin typeface="+mj-lt"/>
                <a:cs typeface="Open Sans Bold"/>
              </a:rPr>
              <a:t>Incentive</a:t>
            </a:r>
          </a:p>
          <a:p>
            <a:pPr algn="ctr"/>
            <a:r>
              <a:rPr lang="en-US" sz="1350" dirty="0">
                <a:latin typeface="+mj-lt"/>
                <a:cs typeface="Open Sans Bold"/>
              </a:rPr>
              <a:t>Management</a:t>
            </a:r>
          </a:p>
        </p:txBody>
      </p:sp>
      <p:sp>
        <p:nvSpPr>
          <p:cNvPr id="44" name="Rectangle: Rounded Corners 43">
            <a:extLst>
              <a:ext uri="{FF2B5EF4-FFF2-40B4-BE49-F238E27FC236}">
                <a16:creationId xmlns:a16="http://schemas.microsoft.com/office/drawing/2014/main" id="{F3BD3349-4AC6-4EB8-B319-9D4ABE59F105}"/>
              </a:ext>
            </a:extLst>
          </p:cNvPr>
          <p:cNvSpPr/>
          <p:nvPr/>
        </p:nvSpPr>
        <p:spPr>
          <a:xfrm>
            <a:off x="7391628" y="3229124"/>
            <a:ext cx="1386119" cy="530679"/>
          </a:xfrm>
          <a:prstGeom prst="round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latin typeface="+mj-lt"/>
                <a:cs typeface="Open Sans Bold"/>
              </a:rPr>
              <a:t>Population</a:t>
            </a:r>
          </a:p>
          <a:p>
            <a:pPr algn="ctr"/>
            <a:r>
              <a:rPr lang="en-US" sz="1350" dirty="0">
                <a:latin typeface="+mj-lt"/>
                <a:cs typeface="Open Sans Bold"/>
              </a:rPr>
              <a:t>Health</a:t>
            </a:r>
          </a:p>
        </p:txBody>
      </p:sp>
      <p:sp>
        <p:nvSpPr>
          <p:cNvPr id="45" name="Rectangle 44">
            <a:extLst>
              <a:ext uri="{FF2B5EF4-FFF2-40B4-BE49-F238E27FC236}">
                <a16:creationId xmlns:a16="http://schemas.microsoft.com/office/drawing/2014/main" id="{51F14677-6DEF-4FFE-9E27-4FA275E6CFE4}"/>
              </a:ext>
            </a:extLst>
          </p:cNvPr>
          <p:cNvSpPr/>
          <p:nvPr/>
        </p:nvSpPr>
        <p:spPr>
          <a:xfrm>
            <a:off x="4547134" y="4177454"/>
            <a:ext cx="1918133" cy="241180"/>
          </a:xfrm>
          <a:prstGeom prst="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err="1">
                <a:latin typeface="+mj-lt"/>
                <a:cs typeface="Open Sans Bold"/>
              </a:rPr>
              <a:t>DataLink</a:t>
            </a:r>
            <a:r>
              <a:rPr lang="en-US" sz="1350" dirty="0">
                <a:latin typeface="+mj-lt"/>
                <a:cs typeface="Open Sans Bold"/>
              </a:rPr>
              <a:t> (</a:t>
            </a:r>
            <a:r>
              <a:rPr lang="en-US" sz="1350" dirty="0" err="1">
                <a:latin typeface="+mj-lt"/>
                <a:cs typeface="Open Sans Bold"/>
              </a:rPr>
              <a:t>CareBook</a:t>
            </a:r>
            <a:r>
              <a:rPr lang="en-US" sz="1350" dirty="0">
                <a:latin typeface="+mj-lt"/>
                <a:cs typeface="Open Sans Bold"/>
              </a:rPr>
              <a:t>)</a:t>
            </a:r>
          </a:p>
        </p:txBody>
      </p:sp>
      <p:sp>
        <p:nvSpPr>
          <p:cNvPr id="47" name="Rectangle 46">
            <a:extLst>
              <a:ext uri="{FF2B5EF4-FFF2-40B4-BE49-F238E27FC236}">
                <a16:creationId xmlns:a16="http://schemas.microsoft.com/office/drawing/2014/main" id="{BF182275-86BC-4FD6-85E7-70CB364F487C}"/>
              </a:ext>
            </a:extLst>
          </p:cNvPr>
          <p:cNvSpPr/>
          <p:nvPr/>
        </p:nvSpPr>
        <p:spPr>
          <a:xfrm>
            <a:off x="9206501" y="4145080"/>
            <a:ext cx="1277880" cy="261494"/>
          </a:xfrm>
          <a:prstGeom prst="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err="1">
                <a:latin typeface="+mj-lt"/>
                <a:cs typeface="Open Sans Bold"/>
              </a:rPr>
              <a:t>RxConnect</a:t>
            </a:r>
            <a:endParaRPr lang="en-US" sz="1350" dirty="0">
              <a:latin typeface="+mj-lt"/>
              <a:cs typeface="Open Sans Bold"/>
            </a:endParaRPr>
          </a:p>
        </p:txBody>
      </p:sp>
      <p:grpSp>
        <p:nvGrpSpPr>
          <p:cNvPr id="50" name="Group 49">
            <a:extLst>
              <a:ext uri="{FF2B5EF4-FFF2-40B4-BE49-F238E27FC236}">
                <a16:creationId xmlns:a16="http://schemas.microsoft.com/office/drawing/2014/main" id="{4439FB8E-4525-4AE5-B8E8-551FFA71A844}"/>
              </a:ext>
            </a:extLst>
          </p:cNvPr>
          <p:cNvGrpSpPr/>
          <p:nvPr/>
        </p:nvGrpSpPr>
        <p:grpSpPr>
          <a:xfrm>
            <a:off x="8792803" y="2578847"/>
            <a:ext cx="137537" cy="248909"/>
            <a:chOff x="1893888" y="3924300"/>
            <a:chExt cx="369888" cy="628650"/>
          </a:xfrm>
          <a:solidFill>
            <a:srgbClr val="002060"/>
          </a:solidFill>
        </p:grpSpPr>
        <p:sp>
          <p:nvSpPr>
            <p:cNvPr id="51" name="Freeform 37">
              <a:extLst>
                <a:ext uri="{FF2B5EF4-FFF2-40B4-BE49-F238E27FC236}">
                  <a16:creationId xmlns:a16="http://schemas.microsoft.com/office/drawing/2014/main" id="{06971311-9F18-4027-A389-D2DF5E585FFC}"/>
                </a:ext>
              </a:extLst>
            </p:cNvPr>
            <p:cNvSpPr>
              <a:spLocks/>
            </p:cNvSpPr>
            <p:nvPr/>
          </p:nvSpPr>
          <p:spPr bwMode="auto">
            <a:xfrm>
              <a:off x="1893888" y="3924300"/>
              <a:ext cx="369888" cy="347663"/>
            </a:xfrm>
            <a:custGeom>
              <a:avLst/>
              <a:gdLst>
                <a:gd name="T0" fmla="*/ 40 w 67"/>
                <a:gd name="T1" fmla="*/ 9 h 63"/>
                <a:gd name="T2" fmla="*/ 27 w 67"/>
                <a:gd name="T3" fmla="*/ 13 h 63"/>
                <a:gd name="T4" fmla="*/ 13 w 67"/>
                <a:gd name="T5" fmla="*/ 0 h 63"/>
                <a:gd name="T6" fmla="*/ 0 w 67"/>
                <a:gd name="T7" fmla="*/ 14 h 63"/>
                <a:gd name="T8" fmla="*/ 13 w 67"/>
                <a:gd name="T9" fmla="*/ 27 h 63"/>
                <a:gd name="T10" fmla="*/ 15 w 67"/>
                <a:gd name="T11" fmla="*/ 27 h 63"/>
                <a:gd name="T12" fmla="*/ 13 w 67"/>
                <a:gd name="T13" fmla="*/ 36 h 63"/>
                <a:gd name="T14" fmla="*/ 40 w 67"/>
                <a:gd name="T15" fmla="*/ 63 h 63"/>
                <a:gd name="T16" fmla="*/ 67 w 67"/>
                <a:gd name="T17" fmla="*/ 36 h 63"/>
                <a:gd name="T18" fmla="*/ 40 w 67"/>
                <a:gd name="T19"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63">
                  <a:moveTo>
                    <a:pt x="40" y="9"/>
                  </a:moveTo>
                  <a:cubicBezTo>
                    <a:pt x="35" y="9"/>
                    <a:pt x="30" y="10"/>
                    <a:pt x="27" y="13"/>
                  </a:cubicBezTo>
                  <a:cubicBezTo>
                    <a:pt x="26" y="6"/>
                    <a:pt x="20" y="0"/>
                    <a:pt x="13" y="0"/>
                  </a:cubicBezTo>
                  <a:cubicBezTo>
                    <a:pt x="6" y="0"/>
                    <a:pt x="0" y="6"/>
                    <a:pt x="0" y="14"/>
                  </a:cubicBezTo>
                  <a:cubicBezTo>
                    <a:pt x="0" y="21"/>
                    <a:pt x="6" y="27"/>
                    <a:pt x="13" y="27"/>
                  </a:cubicBezTo>
                  <a:cubicBezTo>
                    <a:pt x="14" y="27"/>
                    <a:pt x="14" y="27"/>
                    <a:pt x="15" y="27"/>
                  </a:cubicBezTo>
                  <a:cubicBezTo>
                    <a:pt x="14" y="30"/>
                    <a:pt x="13" y="33"/>
                    <a:pt x="13" y="36"/>
                  </a:cubicBezTo>
                  <a:cubicBezTo>
                    <a:pt x="13" y="51"/>
                    <a:pt x="25" y="63"/>
                    <a:pt x="40" y="63"/>
                  </a:cubicBezTo>
                  <a:cubicBezTo>
                    <a:pt x="55" y="63"/>
                    <a:pt x="67" y="51"/>
                    <a:pt x="67" y="36"/>
                  </a:cubicBezTo>
                  <a:cubicBezTo>
                    <a:pt x="67" y="21"/>
                    <a:pt x="55" y="9"/>
                    <a:pt x="40" y="9"/>
                  </a:cubicBezTo>
                  <a:close/>
                </a:path>
              </a:pathLst>
            </a:custGeom>
            <a:solidFill>
              <a:srgbClr val="002060"/>
            </a:solidFill>
            <a:ln>
              <a:noFill/>
            </a:ln>
          </p:spPr>
          <p:txBody>
            <a:bodyPr vert="horz" wrap="square" lIns="68580" tIns="34290" rIns="68580" bIns="34290" numCol="1" anchor="t" anchorCtr="0" compatLnSpc="1">
              <a:prstTxWarp prst="textNoShape">
                <a:avLst/>
              </a:prstTxWarp>
            </a:bodyPr>
            <a:lstStyle/>
            <a:p>
              <a:endParaRPr lang="en-US" sz="1350">
                <a:latin typeface="Arial" panose="020B0604020202020204" pitchFamily="34" charset="0"/>
                <a:cs typeface="Arial" panose="020B0604020202020204" pitchFamily="34" charset="0"/>
                <a:sym typeface="Arial" panose="020B0604020202020204" pitchFamily="34" charset="0"/>
              </a:endParaRPr>
            </a:p>
          </p:txBody>
        </p:sp>
        <p:sp>
          <p:nvSpPr>
            <p:cNvPr id="52" name="Freeform 38">
              <a:extLst>
                <a:ext uri="{FF2B5EF4-FFF2-40B4-BE49-F238E27FC236}">
                  <a16:creationId xmlns:a16="http://schemas.microsoft.com/office/drawing/2014/main" id="{D9CCFCA0-AFC8-4024-95AB-8364EFDBB45C}"/>
                </a:ext>
              </a:extLst>
            </p:cNvPr>
            <p:cNvSpPr>
              <a:spLocks/>
            </p:cNvSpPr>
            <p:nvPr/>
          </p:nvSpPr>
          <p:spPr bwMode="auto">
            <a:xfrm>
              <a:off x="1965326" y="4305300"/>
              <a:ext cx="138113" cy="247650"/>
            </a:xfrm>
            <a:custGeom>
              <a:avLst/>
              <a:gdLst>
                <a:gd name="T0" fmla="*/ 10 w 25"/>
                <a:gd name="T1" fmla="*/ 17 h 45"/>
                <a:gd name="T2" fmla="*/ 10 w 25"/>
                <a:gd name="T3" fmla="*/ 0 h 45"/>
                <a:gd name="T4" fmla="*/ 0 w 25"/>
                <a:gd name="T5" fmla="*/ 20 h 45"/>
                <a:gd name="T6" fmla="*/ 0 w 25"/>
                <a:gd name="T7" fmla="*/ 20 h 45"/>
                <a:gd name="T8" fmla="*/ 0 w 25"/>
                <a:gd name="T9" fmla="*/ 45 h 45"/>
                <a:gd name="T10" fmla="*/ 25 w 25"/>
                <a:gd name="T11" fmla="*/ 45 h 45"/>
                <a:gd name="T12" fmla="*/ 25 w 25"/>
                <a:gd name="T13" fmla="*/ 17 h 45"/>
                <a:gd name="T14" fmla="*/ 10 w 25"/>
                <a:gd name="T15" fmla="*/ 17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45">
                  <a:moveTo>
                    <a:pt x="10" y="17"/>
                  </a:moveTo>
                  <a:cubicBezTo>
                    <a:pt x="10" y="0"/>
                    <a:pt x="10" y="0"/>
                    <a:pt x="10" y="0"/>
                  </a:cubicBezTo>
                  <a:cubicBezTo>
                    <a:pt x="4" y="5"/>
                    <a:pt x="0" y="12"/>
                    <a:pt x="0" y="20"/>
                  </a:cubicBezTo>
                  <a:cubicBezTo>
                    <a:pt x="0" y="20"/>
                    <a:pt x="0" y="20"/>
                    <a:pt x="0" y="20"/>
                  </a:cubicBezTo>
                  <a:cubicBezTo>
                    <a:pt x="0" y="45"/>
                    <a:pt x="0" y="45"/>
                    <a:pt x="0" y="45"/>
                  </a:cubicBezTo>
                  <a:cubicBezTo>
                    <a:pt x="25" y="45"/>
                    <a:pt x="25" y="45"/>
                    <a:pt x="25" y="45"/>
                  </a:cubicBezTo>
                  <a:cubicBezTo>
                    <a:pt x="25" y="17"/>
                    <a:pt x="25" y="17"/>
                    <a:pt x="25" y="17"/>
                  </a:cubicBezTo>
                  <a:lnTo>
                    <a:pt x="10" y="17"/>
                  </a:lnTo>
                  <a:close/>
                </a:path>
              </a:pathLst>
            </a:custGeom>
            <a:grpFill/>
            <a:ln>
              <a:noFill/>
            </a:ln>
          </p:spPr>
          <p:txBody>
            <a:bodyPr vert="horz" wrap="square" lIns="68580" tIns="34290" rIns="68580" bIns="34290" numCol="1" anchor="t" anchorCtr="0" compatLnSpc="1">
              <a:prstTxWarp prst="textNoShape">
                <a:avLst/>
              </a:prstTxWarp>
            </a:bodyPr>
            <a:lstStyle/>
            <a:p>
              <a:endParaRPr lang="en-US" sz="1350">
                <a:latin typeface="Arial" panose="020B0604020202020204" pitchFamily="34" charset="0"/>
                <a:cs typeface="Arial" panose="020B0604020202020204" pitchFamily="34" charset="0"/>
                <a:sym typeface="Arial" panose="020B0604020202020204" pitchFamily="34" charset="0"/>
              </a:endParaRPr>
            </a:p>
          </p:txBody>
        </p:sp>
        <p:sp>
          <p:nvSpPr>
            <p:cNvPr id="53" name="Freeform 39">
              <a:extLst>
                <a:ext uri="{FF2B5EF4-FFF2-40B4-BE49-F238E27FC236}">
                  <a16:creationId xmlns:a16="http://schemas.microsoft.com/office/drawing/2014/main" id="{D2CD37C3-2733-4A56-8556-A46949875BCF}"/>
                </a:ext>
              </a:extLst>
            </p:cNvPr>
            <p:cNvSpPr>
              <a:spLocks/>
            </p:cNvSpPr>
            <p:nvPr/>
          </p:nvSpPr>
          <p:spPr bwMode="auto">
            <a:xfrm>
              <a:off x="2125663" y="4316413"/>
              <a:ext cx="66675" cy="65088"/>
            </a:xfrm>
            <a:custGeom>
              <a:avLst/>
              <a:gdLst>
                <a:gd name="T0" fmla="*/ 42 w 42"/>
                <a:gd name="T1" fmla="*/ 41 h 41"/>
                <a:gd name="T2" fmla="*/ 42 w 42"/>
                <a:gd name="T3" fmla="*/ 0 h 41"/>
                <a:gd name="T4" fmla="*/ 0 w 42"/>
                <a:gd name="T5" fmla="*/ 41 h 41"/>
                <a:gd name="T6" fmla="*/ 42 w 42"/>
                <a:gd name="T7" fmla="*/ 41 h 41"/>
              </a:gdLst>
              <a:ahLst/>
              <a:cxnLst>
                <a:cxn ang="0">
                  <a:pos x="T0" y="T1"/>
                </a:cxn>
                <a:cxn ang="0">
                  <a:pos x="T2" y="T3"/>
                </a:cxn>
                <a:cxn ang="0">
                  <a:pos x="T4" y="T5"/>
                </a:cxn>
                <a:cxn ang="0">
                  <a:pos x="T6" y="T7"/>
                </a:cxn>
              </a:cxnLst>
              <a:rect l="0" t="0" r="r" b="b"/>
              <a:pathLst>
                <a:path w="42" h="41">
                  <a:moveTo>
                    <a:pt x="42" y="41"/>
                  </a:moveTo>
                  <a:lnTo>
                    <a:pt x="42" y="0"/>
                  </a:lnTo>
                  <a:lnTo>
                    <a:pt x="0" y="41"/>
                  </a:lnTo>
                  <a:lnTo>
                    <a:pt x="42" y="41"/>
                  </a:lnTo>
                  <a:close/>
                </a:path>
              </a:pathLst>
            </a:custGeom>
            <a:grpFill/>
            <a:ln>
              <a:noFill/>
            </a:ln>
          </p:spPr>
          <p:txBody>
            <a:bodyPr vert="horz" wrap="square" lIns="68580" tIns="34290" rIns="68580" bIns="34290" numCol="1" anchor="t" anchorCtr="0" compatLnSpc="1">
              <a:prstTxWarp prst="textNoShape">
                <a:avLst/>
              </a:prstTxWarp>
            </a:bodyPr>
            <a:lstStyle/>
            <a:p>
              <a:endParaRPr lang="en-US" sz="1350">
                <a:latin typeface="Arial" panose="020B0604020202020204" pitchFamily="34" charset="0"/>
                <a:cs typeface="Arial" panose="020B0604020202020204" pitchFamily="34" charset="0"/>
                <a:sym typeface="Arial" panose="020B0604020202020204" pitchFamily="34" charset="0"/>
              </a:endParaRPr>
            </a:p>
          </p:txBody>
        </p:sp>
        <p:sp>
          <p:nvSpPr>
            <p:cNvPr id="54" name="Freeform 40">
              <a:extLst>
                <a:ext uri="{FF2B5EF4-FFF2-40B4-BE49-F238E27FC236}">
                  <a16:creationId xmlns:a16="http://schemas.microsoft.com/office/drawing/2014/main" id="{2EAB735C-427C-4E3B-80A6-5D2CA9B840C1}"/>
                </a:ext>
              </a:extLst>
            </p:cNvPr>
            <p:cNvSpPr>
              <a:spLocks/>
            </p:cNvSpPr>
            <p:nvPr/>
          </p:nvSpPr>
          <p:spPr bwMode="auto">
            <a:xfrm>
              <a:off x="2125663" y="4305300"/>
              <a:ext cx="138113" cy="247650"/>
            </a:xfrm>
            <a:custGeom>
              <a:avLst/>
              <a:gdLst>
                <a:gd name="T0" fmla="*/ 25 w 25"/>
                <a:gd name="T1" fmla="*/ 20 h 45"/>
                <a:gd name="T2" fmla="*/ 25 w 25"/>
                <a:gd name="T3" fmla="*/ 20 h 45"/>
                <a:gd name="T4" fmla="*/ 15 w 25"/>
                <a:gd name="T5" fmla="*/ 0 h 45"/>
                <a:gd name="T6" fmla="*/ 15 w 25"/>
                <a:gd name="T7" fmla="*/ 17 h 45"/>
                <a:gd name="T8" fmla="*/ 0 w 25"/>
                <a:gd name="T9" fmla="*/ 17 h 45"/>
                <a:gd name="T10" fmla="*/ 0 w 25"/>
                <a:gd name="T11" fmla="*/ 45 h 45"/>
                <a:gd name="T12" fmla="*/ 25 w 25"/>
                <a:gd name="T13" fmla="*/ 45 h 45"/>
                <a:gd name="T14" fmla="*/ 25 w 25"/>
                <a:gd name="T15" fmla="*/ 2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45">
                  <a:moveTo>
                    <a:pt x="25" y="20"/>
                  </a:moveTo>
                  <a:cubicBezTo>
                    <a:pt x="25" y="20"/>
                    <a:pt x="25" y="20"/>
                    <a:pt x="25" y="20"/>
                  </a:cubicBezTo>
                  <a:cubicBezTo>
                    <a:pt x="25" y="12"/>
                    <a:pt x="21" y="5"/>
                    <a:pt x="15" y="0"/>
                  </a:cubicBezTo>
                  <a:cubicBezTo>
                    <a:pt x="15" y="17"/>
                    <a:pt x="15" y="17"/>
                    <a:pt x="15" y="17"/>
                  </a:cubicBezTo>
                  <a:cubicBezTo>
                    <a:pt x="0" y="17"/>
                    <a:pt x="0" y="17"/>
                    <a:pt x="0" y="17"/>
                  </a:cubicBezTo>
                  <a:cubicBezTo>
                    <a:pt x="0" y="45"/>
                    <a:pt x="0" y="45"/>
                    <a:pt x="0" y="45"/>
                  </a:cubicBezTo>
                  <a:cubicBezTo>
                    <a:pt x="25" y="45"/>
                    <a:pt x="25" y="45"/>
                    <a:pt x="25" y="45"/>
                  </a:cubicBezTo>
                  <a:lnTo>
                    <a:pt x="25" y="20"/>
                  </a:lnTo>
                  <a:close/>
                </a:path>
              </a:pathLst>
            </a:custGeom>
            <a:grpFill/>
            <a:ln>
              <a:noFill/>
            </a:ln>
          </p:spPr>
          <p:txBody>
            <a:bodyPr vert="horz" wrap="square" lIns="68580" tIns="34290" rIns="68580" bIns="34290" numCol="1" anchor="t" anchorCtr="0" compatLnSpc="1">
              <a:prstTxWarp prst="textNoShape">
                <a:avLst/>
              </a:prstTxWarp>
            </a:bodyPr>
            <a:lstStyle/>
            <a:p>
              <a:endParaRPr lang="en-US" sz="1350">
                <a:latin typeface="Arial" panose="020B0604020202020204" pitchFamily="34" charset="0"/>
                <a:cs typeface="Arial" panose="020B0604020202020204" pitchFamily="34" charset="0"/>
                <a:sym typeface="Arial" panose="020B0604020202020204" pitchFamily="34" charset="0"/>
              </a:endParaRPr>
            </a:p>
          </p:txBody>
        </p:sp>
        <p:sp>
          <p:nvSpPr>
            <p:cNvPr id="55" name="Freeform 41">
              <a:extLst>
                <a:ext uri="{FF2B5EF4-FFF2-40B4-BE49-F238E27FC236}">
                  <a16:creationId xmlns:a16="http://schemas.microsoft.com/office/drawing/2014/main" id="{E8A76DF1-639A-42FE-AA4D-FA8815442D8D}"/>
                </a:ext>
              </a:extLst>
            </p:cNvPr>
            <p:cNvSpPr>
              <a:spLocks/>
            </p:cNvSpPr>
            <p:nvPr/>
          </p:nvSpPr>
          <p:spPr bwMode="auto">
            <a:xfrm>
              <a:off x="2036763" y="4316413"/>
              <a:ext cx="66675" cy="65088"/>
            </a:xfrm>
            <a:custGeom>
              <a:avLst/>
              <a:gdLst>
                <a:gd name="T0" fmla="*/ 0 w 42"/>
                <a:gd name="T1" fmla="*/ 41 h 41"/>
                <a:gd name="T2" fmla="*/ 42 w 42"/>
                <a:gd name="T3" fmla="*/ 41 h 41"/>
                <a:gd name="T4" fmla="*/ 0 w 42"/>
                <a:gd name="T5" fmla="*/ 0 h 41"/>
                <a:gd name="T6" fmla="*/ 0 w 42"/>
                <a:gd name="T7" fmla="*/ 41 h 41"/>
              </a:gdLst>
              <a:ahLst/>
              <a:cxnLst>
                <a:cxn ang="0">
                  <a:pos x="T0" y="T1"/>
                </a:cxn>
                <a:cxn ang="0">
                  <a:pos x="T2" y="T3"/>
                </a:cxn>
                <a:cxn ang="0">
                  <a:pos x="T4" y="T5"/>
                </a:cxn>
                <a:cxn ang="0">
                  <a:pos x="T6" y="T7"/>
                </a:cxn>
              </a:cxnLst>
              <a:rect l="0" t="0" r="r" b="b"/>
              <a:pathLst>
                <a:path w="42" h="41">
                  <a:moveTo>
                    <a:pt x="0" y="41"/>
                  </a:moveTo>
                  <a:lnTo>
                    <a:pt x="42" y="41"/>
                  </a:lnTo>
                  <a:lnTo>
                    <a:pt x="0" y="0"/>
                  </a:lnTo>
                  <a:lnTo>
                    <a:pt x="0" y="41"/>
                  </a:lnTo>
                  <a:close/>
                </a:path>
              </a:pathLst>
            </a:custGeom>
            <a:grpFill/>
            <a:ln>
              <a:noFill/>
            </a:ln>
          </p:spPr>
          <p:txBody>
            <a:bodyPr vert="horz" wrap="square" lIns="68580" tIns="34290" rIns="68580" bIns="34290" numCol="1" anchor="t" anchorCtr="0" compatLnSpc="1">
              <a:prstTxWarp prst="textNoShape">
                <a:avLst/>
              </a:prstTxWarp>
            </a:bodyPr>
            <a:lstStyle/>
            <a:p>
              <a:endParaRPr lang="en-US" sz="1350">
                <a:latin typeface="Arial" panose="020B0604020202020204" pitchFamily="34" charset="0"/>
                <a:cs typeface="Arial" panose="020B0604020202020204" pitchFamily="34" charset="0"/>
                <a:sym typeface="Arial" panose="020B0604020202020204" pitchFamily="34" charset="0"/>
              </a:endParaRPr>
            </a:p>
          </p:txBody>
        </p:sp>
      </p:grpSp>
      <p:sp>
        <p:nvSpPr>
          <p:cNvPr id="74" name="TextBox 73">
            <a:extLst>
              <a:ext uri="{FF2B5EF4-FFF2-40B4-BE49-F238E27FC236}">
                <a16:creationId xmlns:a16="http://schemas.microsoft.com/office/drawing/2014/main" id="{D5B25572-A7A1-4968-A2A2-C625D27BFEA2}"/>
              </a:ext>
            </a:extLst>
          </p:cNvPr>
          <p:cNvSpPr txBox="1"/>
          <p:nvPr/>
        </p:nvSpPr>
        <p:spPr>
          <a:xfrm>
            <a:off x="8468853" y="2839880"/>
            <a:ext cx="869847" cy="175205"/>
          </a:xfrm>
          <a:prstGeom prst="rect">
            <a:avLst/>
          </a:prstGeom>
          <a:solidFill>
            <a:schemeClr val="bg1"/>
          </a:solidFill>
        </p:spPr>
        <p:txBody>
          <a:bodyPr wrap="square" lIns="0" tIns="0" rIns="0" bIns="0" rtlCol="0">
            <a:noAutofit/>
          </a:bodyPr>
          <a:lstStyle/>
          <a:p>
            <a:pPr algn="ctr" defTabSz="342569" fontAlgn="base"/>
            <a:r>
              <a:rPr lang="en-US" sz="900" dirty="0">
                <a:solidFill>
                  <a:srgbClr val="064E69"/>
                </a:solidFill>
                <a:cs typeface="Open Sans Light"/>
              </a:rPr>
              <a:t>Network</a:t>
            </a:r>
          </a:p>
          <a:p>
            <a:pPr algn="ctr" defTabSz="342569" fontAlgn="base"/>
            <a:r>
              <a:rPr lang="en-US" sz="900" dirty="0">
                <a:solidFill>
                  <a:srgbClr val="064E69"/>
                </a:solidFill>
                <a:cs typeface="Open Sans Light"/>
              </a:rPr>
              <a:t>Physicians</a:t>
            </a:r>
          </a:p>
        </p:txBody>
      </p:sp>
      <p:cxnSp>
        <p:nvCxnSpPr>
          <p:cNvPr id="76" name="Straight Connector 75">
            <a:extLst>
              <a:ext uri="{FF2B5EF4-FFF2-40B4-BE49-F238E27FC236}">
                <a16:creationId xmlns:a16="http://schemas.microsoft.com/office/drawing/2014/main" id="{EF7A5C07-AFA3-4083-BC1B-F7ACD9B05A95}"/>
              </a:ext>
            </a:extLst>
          </p:cNvPr>
          <p:cNvCxnSpPr>
            <a:cxnSpLocks/>
            <a:stCxn id="45" idx="2"/>
            <a:endCxn id="25" idx="0"/>
          </p:cNvCxnSpPr>
          <p:nvPr/>
        </p:nvCxnSpPr>
        <p:spPr>
          <a:xfrm>
            <a:off x="5506201" y="4418634"/>
            <a:ext cx="777779" cy="491650"/>
          </a:xfrm>
          <a:prstGeom prst="line">
            <a:avLst/>
          </a:prstGeom>
          <a:ln w="12700" cmpd="sng">
            <a:solidFill>
              <a:schemeClr val="tx1"/>
            </a:solidFill>
          </a:ln>
        </p:spPr>
        <p:style>
          <a:lnRef idx="1">
            <a:schemeClr val="accent1"/>
          </a:lnRef>
          <a:fillRef idx="0">
            <a:schemeClr val="accent1"/>
          </a:fillRef>
          <a:effectRef idx="0">
            <a:schemeClr val="accent1"/>
          </a:effectRef>
          <a:fontRef idx="minor">
            <a:schemeClr val="tx1"/>
          </a:fontRef>
        </p:style>
      </p:cxnSp>
      <p:grpSp>
        <p:nvGrpSpPr>
          <p:cNvPr id="90" name="Group 89">
            <a:extLst>
              <a:ext uri="{FF2B5EF4-FFF2-40B4-BE49-F238E27FC236}">
                <a16:creationId xmlns:a16="http://schemas.microsoft.com/office/drawing/2014/main" id="{4ED51F85-964D-419B-979E-EF704A66C1D6}"/>
              </a:ext>
            </a:extLst>
          </p:cNvPr>
          <p:cNvGrpSpPr/>
          <p:nvPr/>
        </p:nvGrpSpPr>
        <p:grpSpPr>
          <a:xfrm>
            <a:off x="2971436" y="2651806"/>
            <a:ext cx="489849" cy="357267"/>
            <a:chOff x="3962429" y="5385584"/>
            <a:chExt cx="653132" cy="476356"/>
          </a:xfrm>
        </p:grpSpPr>
        <p:sp>
          <p:nvSpPr>
            <p:cNvPr id="91" name="Freeform 24">
              <a:extLst>
                <a:ext uri="{FF2B5EF4-FFF2-40B4-BE49-F238E27FC236}">
                  <a16:creationId xmlns:a16="http://schemas.microsoft.com/office/drawing/2014/main" id="{93FA85D9-757A-4B1F-A3DE-FD13A8C6B8FB}"/>
                </a:ext>
              </a:extLst>
            </p:cNvPr>
            <p:cNvSpPr>
              <a:spLocks noEditPoints="1"/>
            </p:cNvSpPr>
            <p:nvPr/>
          </p:nvSpPr>
          <p:spPr bwMode="auto">
            <a:xfrm>
              <a:off x="4052530" y="5385584"/>
              <a:ext cx="448797" cy="294576"/>
            </a:xfrm>
            <a:custGeom>
              <a:avLst/>
              <a:gdLst/>
              <a:ahLst/>
              <a:cxnLst>
                <a:cxn ang="0">
                  <a:pos x="231" y="141"/>
                </a:cxn>
                <a:cxn ang="0">
                  <a:pos x="206" y="82"/>
                </a:cxn>
                <a:cxn ang="0">
                  <a:pos x="217" y="156"/>
                </a:cxn>
                <a:cxn ang="0">
                  <a:pos x="210" y="168"/>
                </a:cxn>
                <a:cxn ang="0">
                  <a:pos x="208" y="165"/>
                </a:cxn>
                <a:cxn ang="0">
                  <a:pos x="157" y="137"/>
                </a:cxn>
                <a:cxn ang="0">
                  <a:pos x="141" y="71"/>
                </a:cxn>
                <a:cxn ang="0">
                  <a:pos x="144" y="62"/>
                </a:cxn>
                <a:cxn ang="0">
                  <a:pos x="201" y="48"/>
                </a:cxn>
                <a:cxn ang="0">
                  <a:pos x="219" y="62"/>
                </a:cxn>
                <a:cxn ang="0">
                  <a:pos x="234" y="141"/>
                </a:cxn>
                <a:cxn ang="0">
                  <a:pos x="170" y="198"/>
                </a:cxn>
                <a:cxn ang="0">
                  <a:pos x="164" y="242"/>
                </a:cxn>
                <a:cxn ang="0">
                  <a:pos x="81" y="242"/>
                </a:cxn>
                <a:cxn ang="0">
                  <a:pos x="75" y="198"/>
                </a:cxn>
                <a:cxn ang="0">
                  <a:pos x="40" y="219"/>
                </a:cxn>
                <a:cxn ang="0">
                  <a:pos x="48" y="169"/>
                </a:cxn>
                <a:cxn ang="0">
                  <a:pos x="104" y="149"/>
                </a:cxn>
                <a:cxn ang="0">
                  <a:pos x="141" y="149"/>
                </a:cxn>
                <a:cxn ang="0">
                  <a:pos x="196" y="169"/>
                </a:cxn>
                <a:cxn ang="0">
                  <a:pos x="204" y="219"/>
                </a:cxn>
                <a:cxn ang="0">
                  <a:pos x="35" y="169"/>
                </a:cxn>
                <a:cxn ang="0">
                  <a:pos x="36" y="80"/>
                </a:cxn>
                <a:cxn ang="0">
                  <a:pos x="21" y="131"/>
                </a:cxn>
                <a:cxn ang="0">
                  <a:pos x="9" y="140"/>
                </a:cxn>
                <a:cxn ang="0">
                  <a:pos x="12" y="61"/>
                </a:cxn>
                <a:cxn ang="0">
                  <a:pos x="31" y="47"/>
                </a:cxn>
                <a:cxn ang="0">
                  <a:pos x="62" y="69"/>
                </a:cxn>
                <a:cxn ang="0">
                  <a:pos x="94" y="47"/>
                </a:cxn>
                <a:cxn ang="0">
                  <a:pos x="113" y="61"/>
                </a:cxn>
                <a:cxn ang="0">
                  <a:pos x="91" y="80"/>
                </a:cxn>
                <a:cxn ang="0">
                  <a:pos x="90" y="81"/>
                </a:cxn>
                <a:cxn ang="0">
                  <a:pos x="87" y="137"/>
                </a:cxn>
                <a:cxn ang="0">
                  <a:pos x="36" y="165"/>
                </a:cxn>
                <a:cxn ang="0">
                  <a:pos x="62" y="0"/>
                </a:cxn>
                <a:cxn ang="0">
                  <a:pos x="62" y="40"/>
                </a:cxn>
                <a:cxn ang="0">
                  <a:pos x="62" y="0"/>
                </a:cxn>
                <a:cxn ang="0">
                  <a:pos x="154" y="110"/>
                </a:cxn>
                <a:cxn ang="0">
                  <a:pos x="91" y="110"/>
                </a:cxn>
                <a:cxn ang="0">
                  <a:pos x="182" y="0"/>
                </a:cxn>
                <a:cxn ang="0">
                  <a:pos x="182" y="40"/>
                </a:cxn>
                <a:cxn ang="0">
                  <a:pos x="182" y="0"/>
                </a:cxn>
              </a:cxnLst>
              <a:rect l="0" t="0" r="r" b="b"/>
              <a:pathLst>
                <a:path w="241" h="248">
                  <a:moveTo>
                    <a:pt x="234" y="141"/>
                  </a:moveTo>
                  <a:cubicBezTo>
                    <a:pt x="233" y="141"/>
                    <a:pt x="232" y="141"/>
                    <a:pt x="231" y="141"/>
                  </a:cubicBezTo>
                  <a:cubicBezTo>
                    <a:pt x="227" y="141"/>
                    <a:pt x="223" y="139"/>
                    <a:pt x="222" y="134"/>
                  </a:cubicBezTo>
                  <a:cubicBezTo>
                    <a:pt x="206" y="82"/>
                    <a:pt x="206" y="82"/>
                    <a:pt x="206" y="82"/>
                  </a:cubicBezTo>
                  <a:cubicBezTo>
                    <a:pt x="198" y="82"/>
                    <a:pt x="198" y="82"/>
                    <a:pt x="198" y="82"/>
                  </a:cubicBezTo>
                  <a:cubicBezTo>
                    <a:pt x="217" y="156"/>
                    <a:pt x="217" y="156"/>
                    <a:pt x="217" y="156"/>
                  </a:cubicBezTo>
                  <a:cubicBezTo>
                    <a:pt x="218" y="157"/>
                    <a:pt x="218" y="158"/>
                    <a:pt x="218" y="160"/>
                  </a:cubicBezTo>
                  <a:cubicBezTo>
                    <a:pt x="218" y="164"/>
                    <a:pt x="214" y="168"/>
                    <a:pt x="210" y="168"/>
                  </a:cubicBezTo>
                  <a:cubicBezTo>
                    <a:pt x="209" y="168"/>
                    <a:pt x="209" y="168"/>
                    <a:pt x="209" y="168"/>
                  </a:cubicBezTo>
                  <a:cubicBezTo>
                    <a:pt x="208" y="167"/>
                    <a:pt x="208" y="166"/>
                    <a:pt x="208" y="165"/>
                  </a:cubicBezTo>
                  <a:cubicBezTo>
                    <a:pt x="203" y="148"/>
                    <a:pt x="186" y="137"/>
                    <a:pt x="168" y="137"/>
                  </a:cubicBezTo>
                  <a:cubicBezTo>
                    <a:pt x="157" y="137"/>
                    <a:pt x="157" y="137"/>
                    <a:pt x="157" y="137"/>
                  </a:cubicBezTo>
                  <a:cubicBezTo>
                    <a:pt x="163" y="129"/>
                    <a:pt x="166" y="120"/>
                    <a:pt x="166" y="110"/>
                  </a:cubicBezTo>
                  <a:cubicBezTo>
                    <a:pt x="166" y="93"/>
                    <a:pt x="156" y="78"/>
                    <a:pt x="141" y="71"/>
                  </a:cubicBezTo>
                  <a:cubicBezTo>
                    <a:pt x="144" y="62"/>
                    <a:pt x="144" y="62"/>
                    <a:pt x="144" y="62"/>
                  </a:cubicBezTo>
                  <a:cubicBezTo>
                    <a:pt x="144" y="62"/>
                    <a:pt x="144" y="62"/>
                    <a:pt x="144" y="62"/>
                  </a:cubicBezTo>
                  <a:cubicBezTo>
                    <a:pt x="147" y="53"/>
                    <a:pt x="154" y="48"/>
                    <a:pt x="162" y="48"/>
                  </a:cubicBezTo>
                  <a:cubicBezTo>
                    <a:pt x="201" y="48"/>
                    <a:pt x="201" y="48"/>
                    <a:pt x="201" y="48"/>
                  </a:cubicBezTo>
                  <a:cubicBezTo>
                    <a:pt x="209" y="48"/>
                    <a:pt x="216" y="53"/>
                    <a:pt x="219" y="62"/>
                  </a:cubicBezTo>
                  <a:cubicBezTo>
                    <a:pt x="219" y="62"/>
                    <a:pt x="219" y="62"/>
                    <a:pt x="219" y="62"/>
                  </a:cubicBezTo>
                  <a:cubicBezTo>
                    <a:pt x="240" y="129"/>
                    <a:pt x="240" y="129"/>
                    <a:pt x="240" y="129"/>
                  </a:cubicBezTo>
                  <a:cubicBezTo>
                    <a:pt x="241" y="134"/>
                    <a:pt x="238" y="139"/>
                    <a:pt x="234" y="141"/>
                  </a:cubicBezTo>
                  <a:close/>
                  <a:moveTo>
                    <a:pt x="176" y="237"/>
                  </a:moveTo>
                  <a:cubicBezTo>
                    <a:pt x="170" y="198"/>
                    <a:pt x="170" y="198"/>
                    <a:pt x="170" y="198"/>
                  </a:cubicBezTo>
                  <a:cubicBezTo>
                    <a:pt x="162" y="198"/>
                    <a:pt x="162" y="198"/>
                    <a:pt x="162" y="198"/>
                  </a:cubicBezTo>
                  <a:cubicBezTo>
                    <a:pt x="164" y="242"/>
                    <a:pt x="164" y="242"/>
                    <a:pt x="164" y="242"/>
                  </a:cubicBezTo>
                  <a:cubicBezTo>
                    <a:pt x="151" y="246"/>
                    <a:pt x="137" y="248"/>
                    <a:pt x="122" y="248"/>
                  </a:cubicBezTo>
                  <a:cubicBezTo>
                    <a:pt x="108" y="248"/>
                    <a:pt x="94" y="246"/>
                    <a:pt x="81" y="242"/>
                  </a:cubicBezTo>
                  <a:cubicBezTo>
                    <a:pt x="83" y="198"/>
                    <a:pt x="83" y="198"/>
                    <a:pt x="83" y="198"/>
                  </a:cubicBezTo>
                  <a:cubicBezTo>
                    <a:pt x="75" y="198"/>
                    <a:pt x="75" y="198"/>
                    <a:pt x="75" y="198"/>
                  </a:cubicBezTo>
                  <a:cubicBezTo>
                    <a:pt x="67" y="237"/>
                    <a:pt x="67" y="237"/>
                    <a:pt x="67" y="237"/>
                  </a:cubicBezTo>
                  <a:cubicBezTo>
                    <a:pt x="57" y="232"/>
                    <a:pt x="48" y="226"/>
                    <a:pt x="40" y="219"/>
                  </a:cubicBezTo>
                  <a:cubicBezTo>
                    <a:pt x="48" y="171"/>
                    <a:pt x="48" y="171"/>
                    <a:pt x="48" y="171"/>
                  </a:cubicBezTo>
                  <a:cubicBezTo>
                    <a:pt x="48" y="170"/>
                    <a:pt x="48" y="169"/>
                    <a:pt x="48" y="169"/>
                  </a:cubicBezTo>
                  <a:cubicBezTo>
                    <a:pt x="52" y="157"/>
                    <a:pt x="63" y="149"/>
                    <a:pt x="77" y="149"/>
                  </a:cubicBezTo>
                  <a:cubicBezTo>
                    <a:pt x="104" y="149"/>
                    <a:pt x="104" y="149"/>
                    <a:pt x="104" y="149"/>
                  </a:cubicBezTo>
                  <a:cubicBezTo>
                    <a:pt x="123" y="182"/>
                    <a:pt x="123" y="182"/>
                    <a:pt x="123" y="182"/>
                  </a:cubicBezTo>
                  <a:cubicBezTo>
                    <a:pt x="141" y="149"/>
                    <a:pt x="141" y="149"/>
                    <a:pt x="141" y="149"/>
                  </a:cubicBezTo>
                  <a:cubicBezTo>
                    <a:pt x="168" y="149"/>
                    <a:pt x="168" y="149"/>
                    <a:pt x="168" y="149"/>
                  </a:cubicBezTo>
                  <a:cubicBezTo>
                    <a:pt x="181" y="149"/>
                    <a:pt x="192" y="157"/>
                    <a:pt x="196" y="169"/>
                  </a:cubicBezTo>
                  <a:cubicBezTo>
                    <a:pt x="196" y="169"/>
                    <a:pt x="196" y="170"/>
                    <a:pt x="196" y="171"/>
                  </a:cubicBezTo>
                  <a:cubicBezTo>
                    <a:pt x="204" y="219"/>
                    <a:pt x="204" y="219"/>
                    <a:pt x="204" y="219"/>
                  </a:cubicBezTo>
                  <a:cubicBezTo>
                    <a:pt x="196" y="226"/>
                    <a:pt x="186" y="232"/>
                    <a:pt x="176" y="237"/>
                  </a:cubicBezTo>
                  <a:close/>
                  <a:moveTo>
                    <a:pt x="35" y="169"/>
                  </a:moveTo>
                  <a:cubicBezTo>
                    <a:pt x="34" y="174"/>
                    <a:pt x="34" y="174"/>
                    <a:pt x="34" y="174"/>
                  </a:cubicBezTo>
                  <a:cubicBezTo>
                    <a:pt x="36" y="80"/>
                    <a:pt x="36" y="80"/>
                    <a:pt x="36" y="80"/>
                  </a:cubicBezTo>
                  <a:cubicBezTo>
                    <a:pt x="30" y="80"/>
                    <a:pt x="30" y="80"/>
                    <a:pt x="30" y="80"/>
                  </a:cubicBezTo>
                  <a:cubicBezTo>
                    <a:pt x="21" y="131"/>
                    <a:pt x="21" y="131"/>
                    <a:pt x="21" y="131"/>
                  </a:cubicBezTo>
                  <a:cubicBezTo>
                    <a:pt x="20" y="136"/>
                    <a:pt x="16" y="140"/>
                    <a:pt x="11" y="140"/>
                  </a:cubicBezTo>
                  <a:cubicBezTo>
                    <a:pt x="11" y="140"/>
                    <a:pt x="10" y="140"/>
                    <a:pt x="9" y="140"/>
                  </a:cubicBezTo>
                  <a:cubicBezTo>
                    <a:pt x="4" y="139"/>
                    <a:pt x="0" y="133"/>
                    <a:pt x="1" y="128"/>
                  </a:cubicBezTo>
                  <a:cubicBezTo>
                    <a:pt x="12" y="61"/>
                    <a:pt x="12" y="61"/>
                    <a:pt x="12" y="61"/>
                  </a:cubicBezTo>
                  <a:cubicBezTo>
                    <a:pt x="12" y="60"/>
                    <a:pt x="12" y="60"/>
                    <a:pt x="12" y="60"/>
                  </a:cubicBezTo>
                  <a:cubicBezTo>
                    <a:pt x="15" y="52"/>
                    <a:pt x="23" y="47"/>
                    <a:pt x="31" y="47"/>
                  </a:cubicBezTo>
                  <a:cubicBezTo>
                    <a:pt x="49" y="47"/>
                    <a:pt x="49" y="47"/>
                    <a:pt x="49" y="47"/>
                  </a:cubicBezTo>
                  <a:cubicBezTo>
                    <a:pt x="62" y="69"/>
                    <a:pt x="62" y="69"/>
                    <a:pt x="62" y="69"/>
                  </a:cubicBezTo>
                  <a:cubicBezTo>
                    <a:pt x="76" y="47"/>
                    <a:pt x="76" y="47"/>
                    <a:pt x="76" y="47"/>
                  </a:cubicBezTo>
                  <a:cubicBezTo>
                    <a:pt x="94" y="47"/>
                    <a:pt x="94" y="47"/>
                    <a:pt x="94" y="47"/>
                  </a:cubicBezTo>
                  <a:cubicBezTo>
                    <a:pt x="103" y="47"/>
                    <a:pt x="110" y="52"/>
                    <a:pt x="113" y="60"/>
                  </a:cubicBezTo>
                  <a:cubicBezTo>
                    <a:pt x="113" y="61"/>
                    <a:pt x="113" y="61"/>
                    <a:pt x="113" y="61"/>
                  </a:cubicBezTo>
                  <a:cubicBezTo>
                    <a:pt x="114" y="67"/>
                    <a:pt x="114" y="67"/>
                    <a:pt x="114" y="67"/>
                  </a:cubicBezTo>
                  <a:cubicBezTo>
                    <a:pt x="105" y="69"/>
                    <a:pt x="97" y="73"/>
                    <a:pt x="91" y="80"/>
                  </a:cubicBezTo>
                  <a:cubicBezTo>
                    <a:pt x="90" y="80"/>
                    <a:pt x="90" y="80"/>
                    <a:pt x="90" y="80"/>
                  </a:cubicBezTo>
                  <a:cubicBezTo>
                    <a:pt x="90" y="81"/>
                    <a:pt x="90" y="81"/>
                    <a:pt x="90" y="81"/>
                  </a:cubicBezTo>
                  <a:cubicBezTo>
                    <a:pt x="83" y="88"/>
                    <a:pt x="79" y="99"/>
                    <a:pt x="79" y="110"/>
                  </a:cubicBezTo>
                  <a:cubicBezTo>
                    <a:pt x="79" y="120"/>
                    <a:pt x="82" y="129"/>
                    <a:pt x="87" y="137"/>
                  </a:cubicBezTo>
                  <a:cubicBezTo>
                    <a:pt x="77" y="137"/>
                    <a:pt x="77" y="137"/>
                    <a:pt x="77" y="137"/>
                  </a:cubicBezTo>
                  <a:cubicBezTo>
                    <a:pt x="58" y="137"/>
                    <a:pt x="41" y="148"/>
                    <a:pt x="36" y="165"/>
                  </a:cubicBezTo>
                  <a:cubicBezTo>
                    <a:pt x="36" y="166"/>
                    <a:pt x="35" y="167"/>
                    <a:pt x="35" y="169"/>
                  </a:cubicBezTo>
                  <a:close/>
                  <a:moveTo>
                    <a:pt x="62" y="0"/>
                  </a:moveTo>
                  <a:cubicBezTo>
                    <a:pt x="74" y="0"/>
                    <a:pt x="83" y="9"/>
                    <a:pt x="83" y="20"/>
                  </a:cubicBezTo>
                  <a:cubicBezTo>
                    <a:pt x="83" y="31"/>
                    <a:pt x="74" y="40"/>
                    <a:pt x="62" y="40"/>
                  </a:cubicBezTo>
                  <a:cubicBezTo>
                    <a:pt x="51" y="40"/>
                    <a:pt x="42" y="31"/>
                    <a:pt x="42" y="20"/>
                  </a:cubicBezTo>
                  <a:cubicBezTo>
                    <a:pt x="42" y="9"/>
                    <a:pt x="51" y="0"/>
                    <a:pt x="62" y="0"/>
                  </a:cubicBezTo>
                  <a:close/>
                  <a:moveTo>
                    <a:pt x="122" y="79"/>
                  </a:moveTo>
                  <a:cubicBezTo>
                    <a:pt x="140" y="79"/>
                    <a:pt x="154" y="93"/>
                    <a:pt x="154" y="110"/>
                  </a:cubicBezTo>
                  <a:cubicBezTo>
                    <a:pt x="154" y="127"/>
                    <a:pt x="140" y="141"/>
                    <a:pt x="122" y="141"/>
                  </a:cubicBezTo>
                  <a:cubicBezTo>
                    <a:pt x="105" y="141"/>
                    <a:pt x="91" y="127"/>
                    <a:pt x="91" y="110"/>
                  </a:cubicBezTo>
                  <a:cubicBezTo>
                    <a:pt x="91" y="93"/>
                    <a:pt x="105" y="79"/>
                    <a:pt x="122" y="79"/>
                  </a:cubicBezTo>
                  <a:close/>
                  <a:moveTo>
                    <a:pt x="182" y="0"/>
                  </a:moveTo>
                  <a:cubicBezTo>
                    <a:pt x="193" y="0"/>
                    <a:pt x="201" y="9"/>
                    <a:pt x="201" y="20"/>
                  </a:cubicBezTo>
                  <a:cubicBezTo>
                    <a:pt x="201" y="31"/>
                    <a:pt x="193" y="40"/>
                    <a:pt x="182" y="40"/>
                  </a:cubicBezTo>
                  <a:cubicBezTo>
                    <a:pt x="171" y="40"/>
                    <a:pt x="162" y="31"/>
                    <a:pt x="162" y="20"/>
                  </a:cubicBezTo>
                  <a:cubicBezTo>
                    <a:pt x="162" y="9"/>
                    <a:pt x="171" y="0"/>
                    <a:pt x="182" y="0"/>
                  </a:cubicBezTo>
                  <a:close/>
                </a:path>
              </a:pathLst>
            </a:custGeom>
            <a:solidFill>
              <a:srgbClr val="003C54"/>
            </a:solidFill>
            <a:ln w="9525">
              <a:noFill/>
              <a:round/>
              <a:headEnd/>
              <a:tailEnd/>
            </a:ln>
          </p:spPr>
          <p:txBody>
            <a:bodyPr vert="horz" wrap="square" lIns="75613" tIns="37806" rIns="75613" bIns="37806" numCol="1" anchor="t" anchorCtr="0" compatLnSpc="1">
              <a:prstTxWarp prst="textNoShape">
                <a:avLst/>
              </a:prstTxWarp>
            </a:bodyPr>
            <a:lstStyle/>
            <a:p>
              <a:endParaRPr lang="en-US" sz="1654">
                <a:latin typeface="Arial" panose="020B0604020202020204" pitchFamily="34" charset="0"/>
                <a:cs typeface="Arial" panose="020B0604020202020204" pitchFamily="34" charset="0"/>
                <a:sym typeface="Arial" panose="020B0604020202020204" pitchFamily="34" charset="0"/>
              </a:endParaRPr>
            </a:p>
          </p:txBody>
        </p:sp>
        <p:sp>
          <p:nvSpPr>
            <p:cNvPr id="92" name="TextBox 91">
              <a:extLst>
                <a:ext uri="{FF2B5EF4-FFF2-40B4-BE49-F238E27FC236}">
                  <a16:creationId xmlns:a16="http://schemas.microsoft.com/office/drawing/2014/main" id="{D98563A0-9460-42C3-BE34-558BFB2B25BE}"/>
                </a:ext>
              </a:extLst>
            </p:cNvPr>
            <p:cNvSpPr txBox="1"/>
            <p:nvPr/>
          </p:nvSpPr>
          <p:spPr>
            <a:xfrm>
              <a:off x="3962429" y="5684957"/>
              <a:ext cx="653132" cy="176983"/>
            </a:xfrm>
            <a:prstGeom prst="rect">
              <a:avLst/>
            </a:prstGeom>
            <a:solidFill>
              <a:schemeClr val="bg1"/>
            </a:solidFill>
          </p:spPr>
          <p:txBody>
            <a:bodyPr wrap="square" lIns="0" tIns="0" rIns="0" bIns="0" rtlCol="0">
              <a:noAutofit/>
            </a:bodyPr>
            <a:lstStyle/>
            <a:p>
              <a:pPr defTabSz="342569" fontAlgn="base">
                <a:spcBef>
                  <a:spcPts val="900"/>
                </a:spcBef>
              </a:pPr>
              <a:r>
                <a:rPr lang="en-US" sz="900" dirty="0">
                  <a:solidFill>
                    <a:srgbClr val="064E69"/>
                  </a:solidFill>
                  <a:cs typeface="Open Sans Light"/>
                </a:rPr>
                <a:t>Clinicians</a:t>
              </a:r>
            </a:p>
          </p:txBody>
        </p:sp>
      </p:grpSp>
      <p:sp>
        <p:nvSpPr>
          <p:cNvPr id="86" name="TextBox 85">
            <a:extLst>
              <a:ext uri="{FF2B5EF4-FFF2-40B4-BE49-F238E27FC236}">
                <a16:creationId xmlns:a16="http://schemas.microsoft.com/office/drawing/2014/main" id="{E69CE4BE-2132-4110-A4CA-C10577DF8D03}"/>
              </a:ext>
            </a:extLst>
          </p:cNvPr>
          <p:cNvSpPr txBox="1"/>
          <p:nvPr/>
        </p:nvSpPr>
        <p:spPr>
          <a:xfrm>
            <a:off x="5454976" y="3372897"/>
            <a:ext cx="685800" cy="685800"/>
          </a:xfrm>
          <a:prstGeom prst="rect">
            <a:avLst/>
          </a:prstGeom>
          <a:noFill/>
        </p:spPr>
        <p:txBody>
          <a:bodyPr wrap="none" lIns="0" tIns="0" rIns="0" bIns="0" rtlCol="0">
            <a:noAutofit/>
          </a:bodyPr>
          <a:lstStyle/>
          <a:p>
            <a:pPr defTabSz="342569" fontAlgn="base">
              <a:spcBef>
                <a:spcPts val="900"/>
              </a:spcBef>
            </a:pPr>
            <a:endParaRPr lang="en-US" sz="1350" dirty="0" err="1">
              <a:solidFill>
                <a:schemeClr val="tx2"/>
              </a:solidFill>
              <a:cs typeface="Open Sans Light"/>
            </a:endParaRPr>
          </a:p>
        </p:txBody>
      </p:sp>
      <p:cxnSp>
        <p:nvCxnSpPr>
          <p:cNvPr id="106" name="Straight Connector 105">
            <a:extLst>
              <a:ext uri="{FF2B5EF4-FFF2-40B4-BE49-F238E27FC236}">
                <a16:creationId xmlns:a16="http://schemas.microsoft.com/office/drawing/2014/main" id="{45BB2E31-EB9C-439E-B139-58AC5E178FFC}"/>
              </a:ext>
            </a:extLst>
          </p:cNvPr>
          <p:cNvCxnSpPr>
            <a:cxnSpLocks/>
          </p:cNvCxnSpPr>
          <p:nvPr/>
        </p:nvCxnSpPr>
        <p:spPr>
          <a:xfrm flipH="1">
            <a:off x="6355866" y="4349065"/>
            <a:ext cx="3417688" cy="618728"/>
          </a:xfrm>
          <a:prstGeom prst="line">
            <a:avLst/>
          </a:prstGeom>
          <a:ln w="12700" cmpd="sng">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9979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xt Steps</a:t>
            </a:r>
          </a:p>
        </p:txBody>
      </p:sp>
      <p:sp>
        <p:nvSpPr>
          <p:cNvPr id="3" name="Text Placeholder 2"/>
          <p:cNvSpPr>
            <a:spLocks noGrp="1"/>
          </p:cNvSpPr>
          <p:nvPr>
            <p:ph type="body" sz="quarter" idx="11"/>
          </p:nvPr>
        </p:nvSpPr>
        <p:spPr>
          <a:xfrm>
            <a:off x="457200" y="860151"/>
            <a:ext cx="9688622" cy="423094"/>
          </a:xfrm>
        </p:spPr>
        <p:txBody>
          <a:bodyPr/>
          <a:lstStyle/>
          <a:p>
            <a:r>
              <a:rPr lang="en-US" sz="1800" dirty="0"/>
              <a:t>Connect everything – Manage Everything – Change the Mindset</a:t>
            </a:r>
          </a:p>
        </p:txBody>
      </p:sp>
      <p:cxnSp>
        <p:nvCxnSpPr>
          <p:cNvPr id="5" name="Straight Connector 4"/>
          <p:cNvCxnSpPr/>
          <p:nvPr/>
        </p:nvCxnSpPr>
        <p:spPr>
          <a:xfrm flipH="1">
            <a:off x="693751" y="1912429"/>
            <a:ext cx="10815297" cy="0"/>
          </a:xfrm>
          <a:prstGeom prst="line">
            <a:avLst/>
          </a:prstGeom>
          <a:ln w="1905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5119674" y="1760081"/>
            <a:ext cx="2739853" cy="304699"/>
          </a:xfrm>
          <a:prstGeom prst="rect">
            <a:avLst/>
          </a:prstGeom>
          <a:solidFill>
            <a:schemeClr val="bg1"/>
          </a:solidFill>
        </p:spPr>
        <p:txBody>
          <a:bodyPr wrap="none" lIns="91440" tIns="0" rIns="91440" bIns="0" rtlCol="0">
            <a:spAutoFit/>
          </a:bodyPr>
          <a:lstStyle/>
          <a:p>
            <a:pPr algn="ctr">
              <a:lnSpc>
                <a:spcPct val="90000"/>
              </a:lnSpc>
            </a:pPr>
            <a:r>
              <a:rPr lang="en-US" sz="2200" b="1" dirty="0">
                <a:solidFill>
                  <a:schemeClr val="tx2"/>
                </a:solidFill>
                <a:latin typeface="Domaine Display Bold" panose="020A0803080505060203" pitchFamily="18" charset="0"/>
                <a:ea typeface="Domaine Display" charset="0"/>
                <a:cs typeface="Domaine Display" charset="0"/>
              </a:rPr>
              <a:t>Recommendations</a:t>
            </a:r>
          </a:p>
        </p:txBody>
      </p:sp>
      <p:sp>
        <p:nvSpPr>
          <p:cNvPr id="9" name="TextBox 8"/>
          <p:cNvSpPr txBox="1"/>
          <p:nvPr/>
        </p:nvSpPr>
        <p:spPr>
          <a:xfrm>
            <a:off x="537222" y="2237046"/>
            <a:ext cx="3392271" cy="341049"/>
          </a:xfrm>
          <a:prstGeom prst="rect">
            <a:avLst/>
          </a:prstGeom>
          <a:noFill/>
        </p:spPr>
        <p:txBody>
          <a:bodyPr wrap="square" lIns="0" tIns="0" rIns="0" bIns="0" rtlCol="0">
            <a:noAutofit/>
          </a:bodyPr>
          <a:lstStyle/>
          <a:p>
            <a:pPr algn="ctr" defTabSz="456758" fontAlgn="base">
              <a:spcBef>
                <a:spcPts val="1200"/>
              </a:spcBef>
            </a:pPr>
            <a:r>
              <a:rPr lang="en-US" b="1" dirty="0">
                <a:solidFill>
                  <a:schemeClr val="accent2"/>
                </a:solidFill>
                <a:cs typeface="Open Sans Light"/>
              </a:rPr>
              <a:t>Immediate</a:t>
            </a:r>
          </a:p>
        </p:txBody>
      </p:sp>
      <p:sp>
        <p:nvSpPr>
          <p:cNvPr id="10" name="TextBox 9"/>
          <p:cNvSpPr txBox="1"/>
          <p:nvPr/>
        </p:nvSpPr>
        <p:spPr>
          <a:xfrm>
            <a:off x="4002657" y="2237047"/>
            <a:ext cx="4184106" cy="341049"/>
          </a:xfrm>
          <a:prstGeom prst="rect">
            <a:avLst/>
          </a:prstGeom>
          <a:noFill/>
        </p:spPr>
        <p:txBody>
          <a:bodyPr wrap="square" lIns="0" tIns="0" rIns="0" bIns="0" rtlCol="0">
            <a:noAutofit/>
          </a:bodyPr>
          <a:lstStyle/>
          <a:p>
            <a:pPr algn="ctr" defTabSz="456758" fontAlgn="base">
              <a:spcBef>
                <a:spcPts val="1200"/>
              </a:spcBef>
            </a:pPr>
            <a:r>
              <a:rPr lang="en-US" b="1" dirty="0">
                <a:solidFill>
                  <a:schemeClr val="accent2"/>
                </a:solidFill>
                <a:cs typeface="Open Sans Light"/>
              </a:rPr>
              <a:t>Mid-Term</a:t>
            </a:r>
          </a:p>
        </p:txBody>
      </p:sp>
      <p:sp>
        <p:nvSpPr>
          <p:cNvPr id="11" name="TextBox 10"/>
          <p:cNvSpPr txBox="1"/>
          <p:nvPr/>
        </p:nvSpPr>
        <p:spPr>
          <a:xfrm>
            <a:off x="8471139" y="2237048"/>
            <a:ext cx="3217654" cy="341049"/>
          </a:xfrm>
          <a:prstGeom prst="rect">
            <a:avLst/>
          </a:prstGeom>
          <a:noFill/>
        </p:spPr>
        <p:txBody>
          <a:bodyPr wrap="square" lIns="0" tIns="0" rIns="0" bIns="0" rtlCol="0">
            <a:noAutofit/>
          </a:bodyPr>
          <a:lstStyle/>
          <a:p>
            <a:pPr algn="ctr" defTabSz="456758" fontAlgn="base">
              <a:spcBef>
                <a:spcPts val="1200"/>
              </a:spcBef>
            </a:pPr>
            <a:r>
              <a:rPr lang="en-US" b="1" dirty="0">
                <a:solidFill>
                  <a:schemeClr val="accent2"/>
                </a:solidFill>
                <a:cs typeface="Open Sans Light"/>
              </a:rPr>
              <a:t>Long-Term</a:t>
            </a:r>
          </a:p>
        </p:txBody>
      </p:sp>
      <p:sp>
        <p:nvSpPr>
          <p:cNvPr id="12" name="TextBox 11"/>
          <p:cNvSpPr txBox="1"/>
          <p:nvPr/>
        </p:nvSpPr>
        <p:spPr>
          <a:xfrm>
            <a:off x="537222" y="2655301"/>
            <a:ext cx="3581357" cy="2950369"/>
          </a:xfrm>
          <a:prstGeom prst="rect">
            <a:avLst/>
          </a:prstGeom>
          <a:noFill/>
        </p:spPr>
        <p:txBody>
          <a:bodyPr wrap="square" lIns="0" tIns="0" rIns="0" bIns="0" rtlCol="0">
            <a:noAutofit/>
          </a:bodyPr>
          <a:lstStyle/>
          <a:p>
            <a:pPr marL="285750" indent="-285750" defTabSz="456758" fontAlgn="base">
              <a:spcBef>
                <a:spcPts val="1200"/>
              </a:spcBef>
              <a:buFont typeface="Arial" panose="020B0604020202020204" pitchFamily="34" charset="0"/>
              <a:buChar char="•"/>
            </a:pPr>
            <a:r>
              <a:rPr lang="en-US" sz="1450" dirty="0">
                <a:cs typeface="Open Sans Light"/>
              </a:rPr>
              <a:t>Agree to the Vision to support a Clinical Platform </a:t>
            </a:r>
          </a:p>
          <a:p>
            <a:pPr marL="285750" indent="-285750" defTabSz="456758" fontAlgn="base">
              <a:spcBef>
                <a:spcPts val="1200"/>
              </a:spcBef>
              <a:buFont typeface="Arial" panose="020B0604020202020204" pitchFamily="34" charset="0"/>
              <a:buChar char="•"/>
            </a:pPr>
            <a:r>
              <a:rPr lang="en-US" sz="1450" dirty="0">
                <a:cs typeface="Open Sans Light"/>
              </a:rPr>
              <a:t>Define and communicate executive ownership of key business capabilities like: Case Management, Disease Management, Wellness Management, Population Health, Pharmacy Fulfillment, and Clinics</a:t>
            </a:r>
          </a:p>
          <a:p>
            <a:pPr marL="285750" indent="-285750" defTabSz="456758" fontAlgn="base">
              <a:spcBef>
                <a:spcPts val="1200"/>
              </a:spcBef>
              <a:buFont typeface="Arial" panose="020B0604020202020204" pitchFamily="34" charset="0"/>
              <a:buChar char="•"/>
            </a:pPr>
            <a:r>
              <a:rPr lang="en-US" sz="1450" dirty="0">
                <a:cs typeface="Open Sans Light"/>
              </a:rPr>
              <a:t>Create Operational, real-time data exchange within the Platform and Cached data for usage outside of the Platform (UDF)</a:t>
            </a:r>
          </a:p>
          <a:p>
            <a:pPr marL="285750" indent="-285750" defTabSz="456758" fontAlgn="base">
              <a:spcBef>
                <a:spcPts val="1200"/>
              </a:spcBef>
              <a:buFont typeface="Arial" panose="020B0604020202020204" pitchFamily="34" charset="0"/>
              <a:buChar char="•"/>
            </a:pPr>
            <a:endParaRPr lang="en-US" sz="1450" dirty="0">
              <a:solidFill>
                <a:schemeClr val="tx1">
                  <a:lumMod val="75000"/>
                  <a:lumOff val="25000"/>
                </a:schemeClr>
              </a:solidFill>
              <a:cs typeface="Open Sans Light"/>
            </a:endParaRPr>
          </a:p>
          <a:p>
            <a:pPr marL="285750" indent="-285750" defTabSz="456758" fontAlgn="base">
              <a:spcBef>
                <a:spcPts val="1200"/>
              </a:spcBef>
              <a:buFont typeface="Arial" panose="020B0604020202020204" pitchFamily="34" charset="0"/>
              <a:buChar char="•"/>
            </a:pPr>
            <a:endParaRPr lang="en-US" sz="1450" dirty="0">
              <a:solidFill>
                <a:schemeClr val="tx1">
                  <a:lumMod val="75000"/>
                  <a:lumOff val="25000"/>
                </a:schemeClr>
              </a:solidFill>
              <a:cs typeface="Open Sans Light"/>
            </a:endParaRPr>
          </a:p>
        </p:txBody>
      </p:sp>
      <p:sp>
        <p:nvSpPr>
          <p:cNvPr id="13" name="TextBox 12"/>
          <p:cNvSpPr txBox="1"/>
          <p:nvPr/>
        </p:nvSpPr>
        <p:spPr>
          <a:xfrm>
            <a:off x="4179035" y="2655305"/>
            <a:ext cx="3784469" cy="3186275"/>
          </a:xfrm>
          <a:prstGeom prst="rect">
            <a:avLst/>
          </a:prstGeom>
          <a:noFill/>
        </p:spPr>
        <p:txBody>
          <a:bodyPr wrap="square" lIns="0" tIns="0" rIns="0" bIns="0" rtlCol="0">
            <a:noAutofit/>
          </a:bodyPr>
          <a:lstStyle/>
          <a:p>
            <a:pPr marL="285750" indent="-285750" defTabSz="456758" fontAlgn="base">
              <a:spcBef>
                <a:spcPts val="1200"/>
              </a:spcBef>
              <a:buFont typeface="Arial" panose="020B0604020202020204" pitchFamily="34" charset="0"/>
              <a:buChar char="•"/>
            </a:pPr>
            <a:r>
              <a:rPr lang="en-US" sz="1450" dirty="0">
                <a:cs typeface="Open Sans Light"/>
              </a:rPr>
              <a:t>Create a shared common Clinical Platform serving all of CVS Health</a:t>
            </a:r>
          </a:p>
          <a:p>
            <a:pPr marL="285750" indent="-285750" defTabSz="456758" fontAlgn="base">
              <a:spcBef>
                <a:spcPts val="1200"/>
              </a:spcBef>
              <a:buFont typeface="Arial" panose="020B0604020202020204" pitchFamily="34" charset="0"/>
              <a:buChar char="•"/>
            </a:pPr>
            <a:r>
              <a:rPr lang="en-US" sz="1450" dirty="0">
                <a:cs typeface="Open Sans Light"/>
              </a:rPr>
              <a:t>Deliver consistent clinical information across all experience channels (internal and external)</a:t>
            </a:r>
          </a:p>
          <a:p>
            <a:pPr marL="285750" indent="-285750" defTabSz="456758" fontAlgn="base">
              <a:spcBef>
                <a:spcPts val="1200"/>
              </a:spcBef>
              <a:buFont typeface="Arial" panose="020B0604020202020204" pitchFamily="34" charset="0"/>
              <a:buChar char="•"/>
            </a:pPr>
            <a:endParaRPr lang="en-US" sz="1450" dirty="0">
              <a:solidFill>
                <a:schemeClr val="tx1">
                  <a:lumMod val="75000"/>
                  <a:lumOff val="25000"/>
                </a:schemeClr>
              </a:solidFill>
              <a:cs typeface="Open Sans Light"/>
            </a:endParaRPr>
          </a:p>
          <a:p>
            <a:pPr marL="285750" indent="-285750" defTabSz="456758" fontAlgn="base">
              <a:spcBef>
                <a:spcPts val="1200"/>
              </a:spcBef>
              <a:buFont typeface="Arial" panose="020B0604020202020204" pitchFamily="34" charset="0"/>
              <a:buChar char="•"/>
            </a:pPr>
            <a:endParaRPr lang="en-US" sz="1450" dirty="0">
              <a:solidFill>
                <a:schemeClr val="tx1">
                  <a:lumMod val="75000"/>
                  <a:lumOff val="25000"/>
                </a:schemeClr>
              </a:solidFill>
              <a:cs typeface="Open Sans Light"/>
            </a:endParaRPr>
          </a:p>
        </p:txBody>
      </p:sp>
      <p:sp>
        <p:nvSpPr>
          <p:cNvPr id="14" name="TextBox 13"/>
          <p:cNvSpPr txBox="1"/>
          <p:nvPr/>
        </p:nvSpPr>
        <p:spPr>
          <a:xfrm>
            <a:off x="8186763" y="2655301"/>
            <a:ext cx="3502029" cy="2624365"/>
          </a:xfrm>
          <a:prstGeom prst="rect">
            <a:avLst/>
          </a:prstGeom>
          <a:noFill/>
        </p:spPr>
        <p:txBody>
          <a:bodyPr wrap="square" lIns="0" tIns="0" rIns="0" bIns="0" rtlCol="0">
            <a:noAutofit/>
          </a:bodyPr>
          <a:lstStyle/>
          <a:p>
            <a:pPr marL="285750" indent="-285750" defTabSz="456758" fontAlgn="base">
              <a:spcBef>
                <a:spcPts val="1200"/>
              </a:spcBef>
              <a:buFont typeface="Arial" panose="020B0604020202020204" pitchFamily="34" charset="0"/>
              <a:buChar char="•"/>
            </a:pPr>
            <a:r>
              <a:rPr lang="en-US" sz="1450" dirty="0">
                <a:cs typeface="Open Sans Light"/>
              </a:rPr>
              <a:t>Honor user preferences in all our interactions, where appropriate </a:t>
            </a:r>
          </a:p>
          <a:p>
            <a:pPr marL="285750" indent="-285750" defTabSz="456758" fontAlgn="base">
              <a:spcBef>
                <a:spcPts val="1200"/>
              </a:spcBef>
              <a:buFont typeface="Arial" panose="020B0604020202020204" pitchFamily="34" charset="0"/>
              <a:buChar char="•"/>
            </a:pPr>
            <a:r>
              <a:rPr lang="en-US" sz="1450" dirty="0">
                <a:cs typeface="Open Sans Light"/>
              </a:rPr>
              <a:t>Deliver timely, personalized clinical experiences </a:t>
            </a:r>
          </a:p>
          <a:p>
            <a:pPr marL="285750" indent="-285750" defTabSz="456758" fontAlgn="base">
              <a:spcBef>
                <a:spcPts val="1200"/>
              </a:spcBef>
              <a:buFont typeface="Arial" panose="020B0604020202020204" pitchFamily="34" charset="0"/>
              <a:buChar char="•"/>
            </a:pPr>
            <a:r>
              <a:rPr lang="en-US" sz="1450" dirty="0">
                <a:cs typeface="Open Sans Light"/>
              </a:rPr>
              <a:t>Help our customers “connect” to clinical content (IoT, monitors, devices) </a:t>
            </a:r>
          </a:p>
          <a:p>
            <a:pPr marL="285750" indent="-285750" defTabSz="456758" fontAlgn="base">
              <a:spcBef>
                <a:spcPts val="1200"/>
              </a:spcBef>
              <a:buFont typeface="Arial" panose="020B0604020202020204" pitchFamily="34" charset="0"/>
              <a:buChar char="•"/>
            </a:pPr>
            <a:r>
              <a:rPr lang="en-US" sz="1450" dirty="0">
                <a:cs typeface="Open Sans Light"/>
              </a:rPr>
              <a:t>Make Rx and medical authorizations easy to submit and create visibility into the status.</a:t>
            </a:r>
          </a:p>
        </p:txBody>
      </p:sp>
      <p:cxnSp>
        <p:nvCxnSpPr>
          <p:cNvPr id="15" name="Straight Connector 14"/>
          <p:cNvCxnSpPr/>
          <p:nvPr/>
        </p:nvCxnSpPr>
        <p:spPr>
          <a:xfrm>
            <a:off x="8097573" y="2756418"/>
            <a:ext cx="0" cy="2679309"/>
          </a:xfrm>
          <a:prstGeom prst="line">
            <a:avLst/>
          </a:prstGeom>
          <a:ln w="1270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118579" y="2756417"/>
            <a:ext cx="0" cy="2679309"/>
          </a:xfrm>
          <a:prstGeom prst="line">
            <a:avLst/>
          </a:prstGeom>
          <a:ln w="1270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B3A91678-5535-4E90-B83E-AE13F67EF7B8}"/>
              </a:ext>
            </a:extLst>
          </p:cNvPr>
          <p:cNvGrpSpPr/>
          <p:nvPr/>
        </p:nvGrpSpPr>
        <p:grpSpPr>
          <a:xfrm>
            <a:off x="4460131" y="1639783"/>
            <a:ext cx="659543" cy="605948"/>
            <a:chOff x="9453373" y="2636377"/>
            <a:chExt cx="698547" cy="697143"/>
          </a:xfrm>
        </p:grpSpPr>
        <p:sp>
          <p:nvSpPr>
            <p:cNvPr id="19" name="Oval 18">
              <a:extLst>
                <a:ext uri="{FF2B5EF4-FFF2-40B4-BE49-F238E27FC236}">
                  <a16:creationId xmlns:a16="http://schemas.microsoft.com/office/drawing/2014/main" id="{13ABF719-728E-43E8-8F4B-FF9A2FFBA84C}"/>
                </a:ext>
              </a:extLst>
            </p:cNvPr>
            <p:cNvSpPr/>
            <p:nvPr/>
          </p:nvSpPr>
          <p:spPr>
            <a:xfrm>
              <a:off x="9453373" y="2636377"/>
              <a:ext cx="698547" cy="697143"/>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pic>
          <p:nvPicPr>
            <p:cNvPr id="20" name="Picture 19">
              <a:extLst>
                <a:ext uri="{FF2B5EF4-FFF2-40B4-BE49-F238E27FC236}">
                  <a16:creationId xmlns:a16="http://schemas.microsoft.com/office/drawing/2014/main" id="{F6C5D490-3B9C-4A62-A29E-5C8A963CC7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53479" y="2735781"/>
              <a:ext cx="498334" cy="498334"/>
            </a:xfrm>
            <a:prstGeom prst="rect">
              <a:avLst/>
            </a:prstGeom>
          </p:spPr>
        </p:pic>
      </p:grpSp>
    </p:spTree>
    <p:extLst>
      <p:ext uri="{BB962C8B-B14F-4D97-AF65-F5344CB8AC3E}">
        <p14:creationId xmlns:p14="http://schemas.microsoft.com/office/powerpoint/2010/main" val="1728369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22953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57" name="think-cell Slide" r:id="rId5" imgW="498" imgH="499" progId="TCLayout.ActiveDocument.1">
                  <p:embed/>
                </p:oleObj>
              </mc:Choice>
              <mc:Fallback>
                <p:oleObj name="think-cell Slide" r:id="rId5" imgW="498" imgH="499"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2783986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A6CEB8-462F-4D93-87C8-91DB92213E97}"/>
              </a:ext>
            </a:extLst>
          </p:cNvPr>
          <p:cNvSpPr>
            <a:spLocks noGrp="1"/>
          </p:cNvSpPr>
          <p:nvPr>
            <p:ph type="title"/>
          </p:nvPr>
        </p:nvSpPr>
        <p:spPr>
          <a:xfrm>
            <a:off x="129655" y="146254"/>
            <a:ext cx="5163416" cy="476805"/>
          </a:xfrm>
        </p:spPr>
        <p:txBody>
          <a:bodyPr/>
          <a:lstStyle/>
          <a:p>
            <a:r>
              <a:rPr lang="en-US" dirty="0"/>
              <a:t>Prioritized Business </a:t>
            </a:r>
            <a:br>
              <a:rPr lang="en-US" dirty="0"/>
            </a:br>
            <a:r>
              <a:rPr lang="en-US" dirty="0"/>
              <a:t>Use Cases</a:t>
            </a:r>
          </a:p>
        </p:txBody>
      </p:sp>
      <p:sp>
        <p:nvSpPr>
          <p:cNvPr id="6" name="Rectangle 5">
            <a:extLst>
              <a:ext uri="{FF2B5EF4-FFF2-40B4-BE49-F238E27FC236}">
                <a16:creationId xmlns:a16="http://schemas.microsoft.com/office/drawing/2014/main" id="{7AD4337F-A1BA-4041-87C8-4413546E65F7}"/>
              </a:ext>
            </a:extLst>
          </p:cNvPr>
          <p:cNvSpPr/>
          <p:nvPr/>
        </p:nvSpPr>
        <p:spPr>
          <a:xfrm>
            <a:off x="129655" y="1762288"/>
            <a:ext cx="5247578" cy="2554545"/>
          </a:xfrm>
          <a:prstGeom prst="rect">
            <a:avLst/>
          </a:prstGeom>
        </p:spPr>
        <p:txBody>
          <a:bodyPr wrap="square">
            <a:spAutoFit/>
          </a:bodyPr>
          <a:lstStyle/>
          <a:p>
            <a:pPr marL="342900" indent="-342900">
              <a:buFont typeface="Arial" panose="020B0604020202020204" pitchFamily="34" charset="0"/>
              <a:buChar char="•"/>
            </a:pPr>
            <a:r>
              <a:rPr lang="en-US" sz="2000" dirty="0">
                <a:latin typeface="Arial" panose="020B0604020202020204" pitchFamily="34" charset="0"/>
                <a:ea typeface="Calibri" panose="020F0502020204030204" pitchFamily="34" charset="0"/>
                <a:cs typeface="Arial" panose="020B0604020202020204" pitchFamily="34" charset="0"/>
              </a:rPr>
              <a:t>The high-level Integration impacts, </a:t>
            </a:r>
          </a:p>
          <a:p>
            <a:pPr marL="342900" indent="-342900">
              <a:buFont typeface="Arial" panose="020B0604020202020204" pitchFamily="34" charset="0"/>
              <a:buChar char="•"/>
            </a:pPr>
            <a:r>
              <a:rPr lang="en-US" sz="2000" dirty="0">
                <a:latin typeface="Arial" panose="020B0604020202020204" pitchFamily="34" charset="0"/>
                <a:ea typeface="Calibri" panose="020F0502020204030204" pitchFamily="34" charset="0"/>
                <a:cs typeface="Arial" panose="020B0604020202020204" pitchFamily="34" charset="0"/>
              </a:rPr>
              <a:t>A view of key components, </a:t>
            </a:r>
          </a:p>
          <a:p>
            <a:pPr marL="342900" indent="-342900">
              <a:buFont typeface="Arial" panose="020B0604020202020204" pitchFamily="34" charset="0"/>
              <a:buChar char="•"/>
            </a:pPr>
            <a:r>
              <a:rPr lang="en-US" sz="2000" dirty="0">
                <a:latin typeface="Arial" panose="020B0604020202020204" pitchFamily="34" charset="0"/>
                <a:ea typeface="Calibri" panose="020F0502020204030204" pitchFamily="34" charset="0"/>
                <a:cs typeface="Arial" panose="020B0604020202020204" pitchFamily="34" charset="0"/>
              </a:rPr>
              <a:t>Eco-System view including Consents, </a:t>
            </a:r>
          </a:p>
          <a:p>
            <a:pPr marL="342900" indent="-342900">
              <a:buFont typeface="Arial" panose="020B0604020202020204" pitchFamily="34" charset="0"/>
              <a:buChar char="•"/>
            </a:pPr>
            <a:r>
              <a:rPr lang="en-US" sz="2000" dirty="0">
                <a:latin typeface="Arial" panose="020B0604020202020204" pitchFamily="34" charset="0"/>
                <a:ea typeface="Calibri" panose="020F0502020204030204" pitchFamily="34" charset="0"/>
                <a:cs typeface="Arial" panose="020B0604020202020204" pitchFamily="34" charset="0"/>
              </a:rPr>
              <a:t>The prioritized Use Cases, </a:t>
            </a:r>
          </a:p>
          <a:p>
            <a:pPr marL="342900" indent="-342900">
              <a:buFont typeface="Arial" panose="020B0604020202020204" pitchFamily="34" charset="0"/>
              <a:buChar char="•"/>
            </a:pPr>
            <a:r>
              <a:rPr lang="en-US" sz="2000" dirty="0">
                <a:latin typeface="Arial" panose="020B0604020202020204" pitchFamily="34" charset="0"/>
                <a:ea typeface="Calibri" panose="020F0502020204030204" pitchFamily="34" charset="0"/>
                <a:cs typeface="Arial" panose="020B0604020202020204" pitchFamily="34" charset="0"/>
              </a:rPr>
              <a:t>How those Use Cases map to the Impacts and Components to show how we might prioritize our efforts based on what we are “touching” and why…  </a:t>
            </a:r>
            <a:r>
              <a:rPr lang="en-US" sz="2000" dirty="0">
                <a:latin typeface="Calibri" panose="020F0502020204030204" pitchFamily="34" charset="0"/>
                <a:ea typeface="Calibri" panose="020F0502020204030204" pitchFamily="34" charset="0"/>
              </a:rPr>
              <a:t> </a:t>
            </a:r>
            <a:r>
              <a:rPr lang="en-US" dirty="0">
                <a:latin typeface="Calibri" panose="020F0502020204030204" pitchFamily="34" charset="0"/>
                <a:ea typeface="Calibri" panose="020F0502020204030204" pitchFamily="34" charset="0"/>
              </a:rPr>
              <a:t>  </a:t>
            </a:r>
            <a:endParaRPr lang="en-US" dirty="0"/>
          </a:p>
        </p:txBody>
      </p:sp>
      <p:sp>
        <p:nvSpPr>
          <p:cNvPr id="7" name="Title 1">
            <a:extLst>
              <a:ext uri="{FF2B5EF4-FFF2-40B4-BE49-F238E27FC236}">
                <a16:creationId xmlns:a16="http://schemas.microsoft.com/office/drawing/2014/main" id="{5B8615BF-9C45-40B0-9529-0B6D4B29CA3D}"/>
              </a:ext>
            </a:extLst>
          </p:cNvPr>
          <p:cNvSpPr txBox="1">
            <a:spLocks/>
          </p:cNvSpPr>
          <p:nvPr/>
        </p:nvSpPr>
        <p:spPr>
          <a:xfrm>
            <a:off x="129655" y="1071657"/>
            <a:ext cx="5163416" cy="476805"/>
          </a:xfrm>
          <a:prstGeom prst="rect">
            <a:avLst/>
          </a:prstGeom>
        </p:spPr>
        <p:txBody>
          <a:bodyPr tIns="0" bIns="0" anchor="t" anchorCtr="0"/>
          <a:lstStyle>
            <a:lvl1pPr algn="l" defTabSz="914400" rtl="0" eaLnBrk="1" latinLnBrk="0" hangingPunct="1">
              <a:lnSpc>
                <a:spcPct val="90000"/>
              </a:lnSpc>
              <a:spcBef>
                <a:spcPct val="0"/>
              </a:spcBef>
              <a:buNone/>
              <a:defRPr sz="3000" b="1" i="0" kern="120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sz="2800" dirty="0"/>
              <a:t>Magnifying Glass – Please!</a:t>
            </a:r>
          </a:p>
        </p:txBody>
      </p:sp>
      <p:pic>
        <p:nvPicPr>
          <p:cNvPr id="3" name="Picture 2">
            <a:extLst>
              <a:ext uri="{FF2B5EF4-FFF2-40B4-BE49-F238E27FC236}">
                <a16:creationId xmlns:a16="http://schemas.microsoft.com/office/drawing/2014/main" id="{893E632A-4D8C-4244-B9C9-9949EF4AD4D6}"/>
              </a:ext>
            </a:extLst>
          </p:cNvPr>
          <p:cNvPicPr>
            <a:picLocks noChangeAspect="1"/>
          </p:cNvPicPr>
          <p:nvPr/>
        </p:nvPicPr>
        <p:blipFill>
          <a:blip r:embed="rId2"/>
          <a:stretch>
            <a:fillRect/>
          </a:stretch>
        </p:blipFill>
        <p:spPr>
          <a:xfrm>
            <a:off x="4045789" y="-812321"/>
            <a:ext cx="6499745" cy="6858000"/>
          </a:xfrm>
          <a:prstGeom prst="rect">
            <a:avLst/>
          </a:prstGeom>
        </p:spPr>
      </p:pic>
    </p:spTree>
    <p:extLst>
      <p:ext uri="{BB962C8B-B14F-4D97-AF65-F5344CB8AC3E}">
        <p14:creationId xmlns:p14="http://schemas.microsoft.com/office/powerpoint/2010/main" val="685213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FB2740-566B-4107-B676-09E9BB52AE57}"/>
              </a:ext>
            </a:extLst>
          </p:cNvPr>
          <p:cNvSpPr>
            <a:spLocks noGrp="1"/>
          </p:cNvSpPr>
          <p:nvPr>
            <p:ph type="title"/>
          </p:nvPr>
        </p:nvSpPr>
        <p:spPr>
          <a:xfrm>
            <a:off x="457201" y="296379"/>
            <a:ext cx="8512628" cy="476805"/>
          </a:xfrm>
        </p:spPr>
        <p:txBody>
          <a:bodyPr/>
          <a:lstStyle/>
          <a:p>
            <a:r>
              <a:rPr lang="en-US" dirty="0"/>
              <a:t>Enhanced Patient Experience   </a:t>
            </a:r>
          </a:p>
        </p:txBody>
      </p:sp>
      <p:sp>
        <p:nvSpPr>
          <p:cNvPr id="9" name="Text Placeholder 8">
            <a:extLst>
              <a:ext uri="{FF2B5EF4-FFF2-40B4-BE49-F238E27FC236}">
                <a16:creationId xmlns:a16="http://schemas.microsoft.com/office/drawing/2014/main" id="{4490841E-BBA9-4EEB-BD31-F19BD06CA1E4}"/>
              </a:ext>
            </a:extLst>
          </p:cNvPr>
          <p:cNvSpPr>
            <a:spLocks noGrp="1"/>
          </p:cNvSpPr>
          <p:nvPr>
            <p:ph type="body" sz="quarter" idx="11"/>
          </p:nvPr>
        </p:nvSpPr>
        <p:spPr/>
        <p:txBody>
          <a:bodyPr/>
          <a:lstStyle/>
          <a:p>
            <a:r>
              <a:rPr lang="en-US" dirty="0"/>
              <a:t>Provide the best clinical experience for everyone using CVS Health.</a:t>
            </a:r>
          </a:p>
          <a:p>
            <a:r>
              <a:rPr lang="en-US" sz="1200" dirty="0">
                <a:cs typeface="Open Sans Light"/>
              </a:rPr>
              <a:t>Larry Merlo: “Better, more productive personalized care”</a:t>
            </a:r>
            <a:endParaRPr lang="en-US" sz="1200" dirty="0"/>
          </a:p>
        </p:txBody>
      </p:sp>
      <p:sp>
        <p:nvSpPr>
          <p:cNvPr id="10" name="Text Placeholder 9">
            <a:extLst>
              <a:ext uri="{FF2B5EF4-FFF2-40B4-BE49-F238E27FC236}">
                <a16:creationId xmlns:a16="http://schemas.microsoft.com/office/drawing/2014/main" id="{70560A75-271B-47A8-9A21-0AD86F9DDB35}"/>
              </a:ext>
            </a:extLst>
          </p:cNvPr>
          <p:cNvSpPr>
            <a:spLocks noGrp="1"/>
          </p:cNvSpPr>
          <p:nvPr>
            <p:ph type="body" sz="quarter" idx="12"/>
          </p:nvPr>
        </p:nvSpPr>
        <p:spPr>
          <a:xfrm>
            <a:off x="457200" y="1573968"/>
            <a:ext cx="11272838" cy="4882722"/>
          </a:xfrm>
        </p:spPr>
        <p:txBody>
          <a:bodyPr/>
          <a:lstStyle/>
          <a:p>
            <a:pPr>
              <a:spcBef>
                <a:spcPts val="0"/>
              </a:spcBef>
            </a:pPr>
            <a:r>
              <a:rPr lang="en-US" b="1" dirty="0">
                <a:solidFill>
                  <a:schemeClr val="accent1"/>
                </a:solidFill>
                <a:ea typeface="Georgia" charset="0"/>
                <a:cs typeface="Open Sans Light"/>
              </a:rPr>
              <a:t>We believe that creating a “delightful” experience will improve health outcomes by supporting accessibility and enabling </a:t>
            </a:r>
            <a:r>
              <a:rPr lang="en-US" b="1" dirty="0">
                <a:solidFill>
                  <a:schemeClr val="accent1"/>
                </a:solidFill>
                <a:cs typeface="Open Sans Light"/>
              </a:rPr>
              <a:t>the best clinical experience of everyone using CVS Health (including internal and external Providers/Clinicians and Patients/Members.)</a:t>
            </a:r>
          </a:p>
          <a:p>
            <a:pPr marL="285750" indent="-285750">
              <a:spcBef>
                <a:spcPts val="0"/>
              </a:spcBef>
              <a:buFont typeface="Arial" panose="020B0604020202020204" pitchFamily="34" charset="0"/>
              <a:buChar char="•"/>
            </a:pPr>
            <a:r>
              <a:rPr lang="en-US" b="1" dirty="0">
                <a:solidFill>
                  <a:srgbClr val="064E69"/>
                </a:solidFill>
                <a:cs typeface="Open Sans Light"/>
              </a:rPr>
              <a:t>We must deliver timely, personalized clinical experiences.</a:t>
            </a:r>
          </a:p>
          <a:p>
            <a:pPr marL="285750" indent="-285750">
              <a:spcBef>
                <a:spcPts val="600"/>
              </a:spcBef>
              <a:buFont typeface="Arial" panose="020B0604020202020204" pitchFamily="34" charset="0"/>
              <a:buChar char="•"/>
            </a:pPr>
            <a:r>
              <a:rPr lang="en-US" b="1" dirty="0">
                <a:solidFill>
                  <a:srgbClr val="064E69"/>
                </a:solidFill>
                <a:ea typeface="Georgia" charset="0"/>
                <a:cs typeface="Open Sans Light"/>
              </a:rPr>
              <a:t>We will deliver consistent clinical information across all experience channels.</a:t>
            </a:r>
          </a:p>
          <a:p>
            <a:pPr marL="285750" indent="-285750">
              <a:spcBef>
                <a:spcPts val="600"/>
              </a:spcBef>
              <a:buFont typeface="Arial" panose="020B0604020202020204" pitchFamily="34" charset="0"/>
              <a:buChar char="•"/>
            </a:pPr>
            <a:r>
              <a:rPr lang="en-US" b="1" dirty="0">
                <a:solidFill>
                  <a:srgbClr val="064E69"/>
                </a:solidFill>
                <a:ea typeface="Georgia" charset="0"/>
                <a:cs typeface="Open Sans Light"/>
              </a:rPr>
              <a:t>We will serve our customers holistically by recognizing their various relationships with CVS Health.</a:t>
            </a:r>
          </a:p>
          <a:p>
            <a:pPr marL="285750" indent="-285750" defTabSz="456758" fontAlgn="base">
              <a:spcBef>
                <a:spcPts val="600"/>
              </a:spcBef>
              <a:buFont typeface="Arial" panose="020B0604020202020204" pitchFamily="34" charset="0"/>
              <a:buChar char="•"/>
            </a:pPr>
            <a:r>
              <a:rPr lang="en-US" b="1" dirty="0">
                <a:solidFill>
                  <a:srgbClr val="064E69"/>
                </a:solidFill>
                <a:cs typeface="Open Sans Light"/>
              </a:rPr>
              <a:t>We will honor user preferences in all our interactions, where appropriate.</a:t>
            </a:r>
          </a:p>
          <a:p>
            <a:pPr marL="285750" indent="-285750" defTabSz="456758" fontAlgn="base">
              <a:spcBef>
                <a:spcPts val="600"/>
              </a:spcBef>
              <a:buFont typeface="Arial" panose="020B0604020202020204" pitchFamily="34" charset="0"/>
              <a:buChar char="•"/>
            </a:pPr>
            <a:r>
              <a:rPr lang="en-US" b="1" dirty="0">
                <a:solidFill>
                  <a:srgbClr val="064E69"/>
                </a:solidFill>
                <a:cs typeface="Open Sans Light"/>
              </a:rPr>
              <a:t>We must honor customer data sensitivity, data privacy and data security.</a:t>
            </a:r>
          </a:p>
          <a:p>
            <a:pPr marL="285750" indent="-285750" defTabSz="456758" fontAlgn="base">
              <a:spcBef>
                <a:spcPts val="600"/>
              </a:spcBef>
              <a:buFont typeface="Arial" panose="020B0604020202020204" pitchFamily="34" charset="0"/>
              <a:buChar char="•"/>
            </a:pPr>
            <a:r>
              <a:rPr lang="en-US" b="1" dirty="0">
                <a:solidFill>
                  <a:srgbClr val="064E69"/>
                </a:solidFill>
                <a:cs typeface="Open Sans Light"/>
              </a:rPr>
              <a:t>We will stay compliant with applicable legal data privacy requirements, including HIPAA and that CVS will identify and safeguard private and confidential data.    </a:t>
            </a:r>
          </a:p>
          <a:p>
            <a:pPr marL="285750" indent="-285750" defTabSz="456758" fontAlgn="base">
              <a:spcBef>
                <a:spcPts val="600"/>
              </a:spcBef>
              <a:buFont typeface="Arial" panose="020B0604020202020204" pitchFamily="34" charset="0"/>
              <a:buChar char="•"/>
            </a:pPr>
            <a:r>
              <a:rPr lang="en-US" b="1" dirty="0">
                <a:solidFill>
                  <a:srgbClr val="064E69"/>
                </a:solidFill>
                <a:cs typeface="Open Sans Light"/>
              </a:rPr>
              <a:t>We will join our customers in their health journey the way they want, when they want, where they want and how they want; to be local, make it simple and improve health.</a:t>
            </a:r>
          </a:p>
          <a:p>
            <a:pPr marL="285750" indent="-285750" defTabSz="456758" fontAlgn="base">
              <a:spcBef>
                <a:spcPts val="600"/>
              </a:spcBef>
              <a:buFont typeface="Arial" panose="020B0604020202020204" pitchFamily="34" charset="0"/>
              <a:buChar char="•"/>
            </a:pPr>
            <a:r>
              <a:rPr lang="en-US" b="1" dirty="0">
                <a:solidFill>
                  <a:srgbClr val="064E69"/>
                </a:solidFill>
                <a:cs typeface="Open Sans Light"/>
              </a:rPr>
              <a:t>We will help our customers “connect” to clinical content (IoT, monitors, devices) to facilitate a continuous health journey. </a:t>
            </a:r>
          </a:p>
          <a:p>
            <a:pPr marL="285750" indent="-285750" defTabSz="456758" fontAlgn="base">
              <a:spcBef>
                <a:spcPts val="600"/>
              </a:spcBef>
              <a:buFont typeface="Arial" panose="020B0604020202020204" pitchFamily="34" charset="0"/>
              <a:buChar char="•"/>
            </a:pPr>
            <a:r>
              <a:rPr lang="en-US" b="1" dirty="0">
                <a:solidFill>
                  <a:srgbClr val="064E69"/>
                </a:solidFill>
                <a:cs typeface="Open Sans Light"/>
              </a:rPr>
              <a:t>We will delight our customers by continuously innovating to engage and empower them.	</a:t>
            </a:r>
          </a:p>
        </p:txBody>
      </p:sp>
    </p:spTree>
    <p:extLst>
      <p:ext uri="{BB962C8B-B14F-4D97-AF65-F5344CB8AC3E}">
        <p14:creationId xmlns:p14="http://schemas.microsoft.com/office/powerpoint/2010/main" val="3506596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FB2740-566B-4107-B676-09E9BB52AE57}"/>
              </a:ext>
            </a:extLst>
          </p:cNvPr>
          <p:cNvSpPr>
            <a:spLocks noGrp="1"/>
          </p:cNvSpPr>
          <p:nvPr>
            <p:ph type="title"/>
          </p:nvPr>
        </p:nvSpPr>
        <p:spPr>
          <a:xfrm>
            <a:off x="457201" y="296379"/>
            <a:ext cx="8512628" cy="476805"/>
          </a:xfrm>
        </p:spPr>
        <p:txBody>
          <a:bodyPr/>
          <a:lstStyle/>
          <a:p>
            <a:r>
              <a:rPr lang="en-US" dirty="0"/>
              <a:t>Enhanced Provider Experience   </a:t>
            </a:r>
          </a:p>
        </p:txBody>
      </p:sp>
      <p:sp>
        <p:nvSpPr>
          <p:cNvPr id="9" name="Text Placeholder 8">
            <a:extLst>
              <a:ext uri="{FF2B5EF4-FFF2-40B4-BE49-F238E27FC236}">
                <a16:creationId xmlns:a16="http://schemas.microsoft.com/office/drawing/2014/main" id="{4490841E-BBA9-4EEB-BD31-F19BD06CA1E4}"/>
              </a:ext>
            </a:extLst>
          </p:cNvPr>
          <p:cNvSpPr>
            <a:spLocks noGrp="1"/>
          </p:cNvSpPr>
          <p:nvPr>
            <p:ph type="body" sz="quarter" idx="11"/>
          </p:nvPr>
        </p:nvSpPr>
        <p:spPr/>
        <p:txBody>
          <a:bodyPr/>
          <a:lstStyle/>
          <a:p>
            <a:r>
              <a:rPr lang="en-US" dirty="0"/>
              <a:t>Provide the best clinical experience for everyone using CVS Health.</a:t>
            </a:r>
          </a:p>
          <a:p>
            <a:r>
              <a:rPr lang="en-US" sz="1200" dirty="0">
                <a:cs typeface="Open Sans Light"/>
              </a:rPr>
              <a:t>Larry Merlo: “Better, more productive personalized care”</a:t>
            </a:r>
            <a:endParaRPr lang="en-US" sz="1200" dirty="0"/>
          </a:p>
        </p:txBody>
      </p:sp>
      <p:sp>
        <p:nvSpPr>
          <p:cNvPr id="10" name="Text Placeholder 9">
            <a:extLst>
              <a:ext uri="{FF2B5EF4-FFF2-40B4-BE49-F238E27FC236}">
                <a16:creationId xmlns:a16="http://schemas.microsoft.com/office/drawing/2014/main" id="{70560A75-271B-47A8-9A21-0AD86F9DDB35}"/>
              </a:ext>
            </a:extLst>
          </p:cNvPr>
          <p:cNvSpPr>
            <a:spLocks noGrp="1"/>
          </p:cNvSpPr>
          <p:nvPr>
            <p:ph type="body" sz="quarter" idx="12"/>
          </p:nvPr>
        </p:nvSpPr>
        <p:spPr>
          <a:xfrm>
            <a:off x="457200" y="1573968"/>
            <a:ext cx="11272838" cy="4882722"/>
          </a:xfrm>
        </p:spPr>
        <p:txBody>
          <a:bodyPr/>
          <a:lstStyle/>
          <a:p>
            <a:pPr>
              <a:spcBef>
                <a:spcPts val="0"/>
              </a:spcBef>
            </a:pPr>
            <a:r>
              <a:rPr lang="en-US" b="1" dirty="0">
                <a:solidFill>
                  <a:schemeClr val="accent1"/>
                </a:solidFill>
                <a:ea typeface="Georgia" charset="0"/>
                <a:cs typeface="Open Sans Light"/>
              </a:rPr>
              <a:t>We believe that CVS should be the easiest pharmacy for Providers to work with. </a:t>
            </a:r>
          </a:p>
          <a:p>
            <a:pPr marL="285750" indent="-285750">
              <a:spcBef>
                <a:spcPts val="0"/>
              </a:spcBef>
              <a:buFont typeface="Arial" panose="020B0604020202020204" pitchFamily="34" charset="0"/>
              <a:buChar char="•"/>
            </a:pPr>
            <a:r>
              <a:rPr lang="en-US" b="1" dirty="0">
                <a:solidFill>
                  <a:srgbClr val="064E69"/>
                </a:solidFill>
                <a:cs typeface="Open Sans Light"/>
              </a:rPr>
              <a:t>We must work with the Practice Management tools/systems in the Provider office to reduce redundant entries.</a:t>
            </a:r>
          </a:p>
          <a:p>
            <a:pPr marL="285750" indent="-285750">
              <a:spcBef>
                <a:spcPts val="0"/>
              </a:spcBef>
              <a:buFont typeface="Arial" panose="020B0604020202020204" pitchFamily="34" charset="0"/>
              <a:buChar char="•"/>
            </a:pPr>
            <a:r>
              <a:rPr lang="en-US" b="1" dirty="0">
                <a:solidFill>
                  <a:srgbClr val="064E69"/>
                </a:solidFill>
                <a:cs typeface="Open Sans Light"/>
              </a:rPr>
              <a:t>We will make Rx authorizations easy to submit and create visibility into the status.</a:t>
            </a:r>
          </a:p>
          <a:p>
            <a:pPr marL="285750" indent="-285750">
              <a:spcBef>
                <a:spcPts val="0"/>
              </a:spcBef>
              <a:buFont typeface="Arial" panose="020B0604020202020204" pitchFamily="34" charset="0"/>
              <a:buChar char="•"/>
            </a:pPr>
            <a:r>
              <a:rPr lang="en-US" b="1" dirty="0">
                <a:solidFill>
                  <a:srgbClr val="064E69"/>
                </a:solidFill>
                <a:cs typeface="Open Sans Light"/>
              </a:rPr>
              <a:t>We will make Claim authorizations easy to submit and create visibility into the status.  </a:t>
            </a:r>
          </a:p>
          <a:p>
            <a:pPr marL="285750" indent="-285750">
              <a:spcBef>
                <a:spcPts val="0"/>
              </a:spcBef>
              <a:buFont typeface="Arial" panose="020B0604020202020204" pitchFamily="34" charset="0"/>
              <a:buChar char="•"/>
            </a:pPr>
            <a:r>
              <a:rPr lang="en-US" b="1" dirty="0">
                <a:solidFill>
                  <a:srgbClr val="064E69"/>
                </a:solidFill>
                <a:cs typeface="Open Sans Light"/>
              </a:rPr>
              <a:t>We will reduce the complexity of requesting and dispensing complex medicines including infusion services, complex biologics, and genetic-therapies. </a:t>
            </a:r>
          </a:p>
          <a:p>
            <a:pPr marL="285750" indent="-285750">
              <a:spcBef>
                <a:spcPts val="0"/>
              </a:spcBef>
              <a:buFont typeface="Arial" panose="020B0604020202020204" pitchFamily="34" charset="0"/>
              <a:buChar char="•"/>
            </a:pPr>
            <a:r>
              <a:rPr lang="en-US" b="1" dirty="0">
                <a:solidFill>
                  <a:srgbClr val="064E69"/>
                </a:solidFill>
                <a:cs typeface="Open Sans Light"/>
              </a:rPr>
              <a:t>We will deliver timely, personalized clinical experiences to CVS patients and keep their care provides informed.</a:t>
            </a:r>
          </a:p>
          <a:p>
            <a:pPr marL="285750" indent="-285750">
              <a:spcBef>
                <a:spcPts val="600"/>
              </a:spcBef>
              <a:buFont typeface="Arial" panose="020B0604020202020204" pitchFamily="34" charset="0"/>
              <a:buChar char="•"/>
            </a:pPr>
            <a:r>
              <a:rPr lang="en-US" b="1" dirty="0">
                <a:solidFill>
                  <a:srgbClr val="064E69"/>
                </a:solidFill>
                <a:ea typeface="Georgia" charset="0"/>
                <a:cs typeface="Open Sans Light"/>
              </a:rPr>
              <a:t>We will deliver consistent clinical information across all experience channels, so providers sees what CVS sees.</a:t>
            </a:r>
          </a:p>
          <a:p>
            <a:pPr marL="285750" indent="-285750" defTabSz="456758" fontAlgn="base">
              <a:spcBef>
                <a:spcPts val="600"/>
              </a:spcBef>
              <a:buFont typeface="Arial" panose="020B0604020202020204" pitchFamily="34" charset="0"/>
              <a:buChar char="•"/>
            </a:pPr>
            <a:r>
              <a:rPr lang="en-US" b="1" dirty="0">
                <a:solidFill>
                  <a:srgbClr val="064E69"/>
                </a:solidFill>
                <a:cs typeface="Open Sans Light"/>
              </a:rPr>
              <a:t>We will honor Provider preferences in their interactions, phone, fax, system transactions, etc.</a:t>
            </a:r>
          </a:p>
          <a:p>
            <a:pPr marL="285750" indent="-285750" defTabSz="456758" fontAlgn="base">
              <a:spcBef>
                <a:spcPts val="600"/>
              </a:spcBef>
              <a:buFont typeface="Arial" panose="020B0604020202020204" pitchFamily="34" charset="0"/>
              <a:buChar char="•"/>
            </a:pPr>
            <a:r>
              <a:rPr lang="en-US" b="1" dirty="0">
                <a:solidFill>
                  <a:srgbClr val="064E69"/>
                </a:solidFill>
                <a:cs typeface="Open Sans Light"/>
              </a:rPr>
              <a:t>We will delight our customers by continuously innovating to engage and empower them.	</a:t>
            </a:r>
          </a:p>
        </p:txBody>
      </p:sp>
    </p:spTree>
    <p:extLst>
      <p:ext uri="{BB962C8B-B14F-4D97-AF65-F5344CB8AC3E}">
        <p14:creationId xmlns:p14="http://schemas.microsoft.com/office/powerpoint/2010/main" val="37783164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C42DB7-2199-4DBE-A1EA-7461B7CF062C}"/>
              </a:ext>
            </a:extLst>
          </p:cNvPr>
          <p:cNvSpPr>
            <a:spLocks noGrp="1"/>
          </p:cNvSpPr>
          <p:nvPr>
            <p:ph type="title"/>
          </p:nvPr>
        </p:nvSpPr>
        <p:spPr/>
        <p:txBody>
          <a:bodyPr/>
          <a:lstStyle/>
          <a:p>
            <a:r>
              <a:rPr lang="en-US" dirty="0"/>
              <a:t>CVS Clinical Operational excellence </a:t>
            </a:r>
          </a:p>
        </p:txBody>
      </p:sp>
      <p:sp>
        <p:nvSpPr>
          <p:cNvPr id="3" name="Text Placeholder 2">
            <a:extLst>
              <a:ext uri="{FF2B5EF4-FFF2-40B4-BE49-F238E27FC236}">
                <a16:creationId xmlns:a16="http://schemas.microsoft.com/office/drawing/2014/main" id="{BF33847B-175C-4ED3-B636-2AB28B2DAD88}"/>
              </a:ext>
            </a:extLst>
          </p:cNvPr>
          <p:cNvSpPr>
            <a:spLocks noGrp="1"/>
          </p:cNvSpPr>
          <p:nvPr>
            <p:ph type="body" sz="quarter" idx="11"/>
          </p:nvPr>
        </p:nvSpPr>
        <p:spPr>
          <a:xfrm>
            <a:off x="457199" y="773183"/>
            <a:ext cx="10275758" cy="839935"/>
          </a:xfrm>
        </p:spPr>
        <p:txBody>
          <a:bodyPr/>
          <a:lstStyle/>
          <a:p>
            <a:r>
              <a:rPr lang="en-US" sz="1600" dirty="0"/>
              <a:t>Creating a common Platform and creating executive ownership across the company will create greater continuity and less duplication of solutions while yielding higher productivity for all of CVS Health.</a:t>
            </a:r>
          </a:p>
          <a:p>
            <a:r>
              <a:rPr lang="en-US" sz="1200" dirty="0"/>
              <a:t>We will “lead the change” in the US Health Care economy</a:t>
            </a:r>
            <a:r>
              <a:rPr lang="en-US" sz="1200" b="1" dirty="0">
                <a:cs typeface="Open Sans Light"/>
              </a:rPr>
              <a:t>. </a:t>
            </a:r>
          </a:p>
          <a:p>
            <a:endParaRPr lang="en-US" sz="1600" dirty="0"/>
          </a:p>
        </p:txBody>
      </p:sp>
      <p:sp>
        <p:nvSpPr>
          <p:cNvPr id="4" name="Text Placeholder 3">
            <a:extLst>
              <a:ext uri="{FF2B5EF4-FFF2-40B4-BE49-F238E27FC236}">
                <a16:creationId xmlns:a16="http://schemas.microsoft.com/office/drawing/2014/main" id="{A408F2F8-4E09-4489-8B05-F545A6F9FE64}"/>
              </a:ext>
            </a:extLst>
          </p:cNvPr>
          <p:cNvSpPr>
            <a:spLocks noGrp="1"/>
          </p:cNvSpPr>
          <p:nvPr>
            <p:ph type="body" sz="quarter" idx="12"/>
          </p:nvPr>
        </p:nvSpPr>
        <p:spPr>
          <a:xfrm>
            <a:off x="457199" y="1613119"/>
            <a:ext cx="11272838" cy="4700595"/>
          </a:xfrm>
        </p:spPr>
        <p:txBody>
          <a:bodyPr/>
          <a:lstStyle/>
          <a:p>
            <a:pPr defTabSz="456758" fontAlgn="base">
              <a:spcBef>
                <a:spcPts val="0"/>
              </a:spcBef>
              <a:spcAft>
                <a:spcPts val="400"/>
              </a:spcAft>
            </a:pPr>
            <a:r>
              <a:rPr lang="en-US" sz="1700" b="1" dirty="0">
                <a:solidFill>
                  <a:schemeClr val="accent1"/>
                </a:solidFill>
                <a:cs typeface="Open Sans Light"/>
              </a:rPr>
              <a:t>We believe having a centralized organization supporting a Clinical Platform that serves all of CVS Health will provide better clinical results, greater continuity of information, and improved costs/savings.</a:t>
            </a:r>
          </a:p>
          <a:p>
            <a:pPr defTabSz="456758" fontAlgn="base">
              <a:spcBef>
                <a:spcPts val="0"/>
              </a:spcBef>
              <a:spcAft>
                <a:spcPts val="400"/>
              </a:spcAft>
            </a:pPr>
            <a:r>
              <a:rPr lang="en-US" sz="1700" b="1" dirty="0">
                <a:solidFill>
                  <a:schemeClr val="accent1"/>
                </a:solidFill>
                <a:cs typeface="Open Sans Light"/>
              </a:rPr>
              <a:t>We also believe that the key to success of a centralized Clinical Platform will require executive leadership to define and assume ownership of key business capabilities like: Case Management, Disease Management, Wellness Management, Population Health, Pharmacy, Clinics, </a:t>
            </a:r>
            <a:r>
              <a:rPr lang="en-US" sz="1700" b="1" dirty="0" err="1">
                <a:solidFill>
                  <a:schemeClr val="accent1"/>
                </a:solidFill>
                <a:cs typeface="Open Sans Light"/>
              </a:rPr>
              <a:t>etc</a:t>
            </a:r>
            <a:r>
              <a:rPr lang="en-US" sz="1700" b="1" dirty="0">
                <a:solidFill>
                  <a:schemeClr val="accent1"/>
                </a:solidFill>
                <a:cs typeface="Open Sans Light"/>
              </a:rPr>
              <a:t> and communicate that ownership across CVS to eliminate duplicated systems, processes and costs. </a:t>
            </a:r>
          </a:p>
          <a:p>
            <a:pPr marL="285750" indent="-285750" defTabSz="456758" fontAlgn="base">
              <a:spcBef>
                <a:spcPts val="0"/>
              </a:spcBef>
              <a:spcAft>
                <a:spcPts val="400"/>
              </a:spcAft>
              <a:buFont typeface="Arial" panose="020B0604020202020204" pitchFamily="34" charset="0"/>
              <a:buChar char="•"/>
            </a:pPr>
            <a:r>
              <a:rPr lang="en-US" sz="1600" b="1" dirty="0">
                <a:solidFill>
                  <a:srgbClr val="064E69"/>
                </a:solidFill>
                <a:cs typeface="Open Sans Light"/>
              </a:rPr>
              <a:t>We will provide a platform that is clinically compliant with all laws and regulations.</a:t>
            </a:r>
          </a:p>
          <a:p>
            <a:pPr marL="285750" indent="-285750" defTabSz="456758" fontAlgn="base">
              <a:spcBef>
                <a:spcPts val="0"/>
              </a:spcBef>
              <a:spcAft>
                <a:spcPts val="400"/>
              </a:spcAft>
              <a:buFont typeface="Arial" panose="020B0604020202020204" pitchFamily="34" charset="0"/>
              <a:buChar char="•"/>
            </a:pPr>
            <a:r>
              <a:rPr lang="en-US" sz="1600" b="1" dirty="0">
                <a:solidFill>
                  <a:srgbClr val="064E69"/>
                </a:solidFill>
                <a:cs typeface="Open Sans Light"/>
              </a:rPr>
              <a:t>We will provide a platform that is agile, always “on”, dependable and verse enough to “plug and play” at the speed of business. </a:t>
            </a:r>
          </a:p>
          <a:p>
            <a:pPr marL="285750" indent="-285750" defTabSz="456758" fontAlgn="base">
              <a:spcBef>
                <a:spcPts val="0"/>
              </a:spcBef>
              <a:spcAft>
                <a:spcPts val="400"/>
              </a:spcAft>
              <a:buFont typeface="Arial" panose="020B0604020202020204" pitchFamily="34" charset="0"/>
              <a:buChar char="•"/>
            </a:pPr>
            <a:r>
              <a:rPr lang="en-US" sz="1600" b="1" dirty="0">
                <a:solidFill>
                  <a:srgbClr val="064E69"/>
                </a:solidFill>
                <a:cs typeface="Open Sans Light"/>
              </a:rPr>
              <a:t>We will provide a platform that will seamlessly integrate across the healthcare continuum to gain access to the data for all the users of CVS Health </a:t>
            </a:r>
          </a:p>
          <a:p>
            <a:pPr marL="285750" indent="-285750" defTabSz="456758" fontAlgn="base">
              <a:spcBef>
                <a:spcPts val="0"/>
              </a:spcBef>
              <a:spcAft>
                <a:spcPts val="400"/>
              </a:spcAft>
              <a:buFont typeface="Arial" panose="020B0604020202020204" pitchFamily="34" charset="0"/>
              <a:buChar char="•"/>
            </a:pPr>
            <a:r>
              <a:rPr lang="en-US" sz="1600" b="1" dirty="0">
                <a:solidFill>
                  <a:srgbClr val="064E69"/>
                </a:solidFill>
                <a:cs typeface="Open Sans Light"/>
              </a:rPr>
              <a:t>We will simplify the day to day operating procedures for our clinicians.</a:t>
            </a:r>
          </a:p>
          <a:p>
            <a:pPr marL="285750" indent="-285750" defTabSz="456758" fontAlgn="base">
              <a:spcBef>
                <a:spcPts val="0"/>
              </a:spcBef>
              <a:spcAft>
                <a:spcPts val="400"/>
              </a:spcAft>
              <a:buFont typeface="Arial" panose="020B0604020202020204" pitchFamily="34" charset="0"/>
              <a:buChar char="•"/>
            </a:pPr>
            <a:r>
              <a:rPr lang="en-US" sz="1600" b="1" dirty="0">
                <a:solidFill>
                  <a:srgbClr val="064E69"/>
                </a:solidFill>
                <a:cs typeface="Open Sans Light"/>
              </a:rPr>
              <a:t>We will enable our platform to provide consistent, reliable and timely data to our clinicians to enable continuity of care to all our customers regardless of the assess channels used. </a:t>
            </a:r>
          </a:p>
          <a:p>
            <a:pPr marL="285750" indent="-285750" defTabSz="456758" fontAlgn="base">
              <a:spcBef>
                <a:spcPts val="0"/>
              </a:spcBef>
              <a:spcAft>
                <a:spcPts val="400"/>
              </a:spcAft>
              <a:buFont typeface="Arial" panose="020B0604020202020204" pitchFamily="34" charset="0"/>
              <a:buChar char="•"/>
            </a:pPr>
            <a:r>
              <a:rPr lang="en-US" sz="1600" b="1" dirty="0">
                <a:solidFill>
                  <a:srgbClr val="064E69"/>
                </a:solidFill>
                <a:cs typeface="Open Sans Light"/>
              </a:rPr>
              <a:t>We will provide our clinicians timely analytics to provide best-in-class input to care.</a:t>
            </a:r>
          </a:p>
          <a:p>
            <a:pPr marL="285750" indent="-285750" defTabSz="456758" fontAlgn="base">
              <a:spcBef>
                <a:spcPts val="0"/>
              </a:spcBef>
              <a:spcAft>
                <a:spcPts val="400"/>
              </a:spcAft>
              <a:buFont typeface="Arial" panose="020B0604020202020204" pitchFamily="34" charset="0"/>
              <a:buChar char="•"/>
            </a:pPr>
            <a:r>
              <a:rPr lang="en-US" sz="1600" b="1" dirty="0">
                <a:solidFill>
                  <a:srgbClr val="064E69"/>
                </a:solidFill>
                <a:cs typeface="Open Sans Light"/>
              </a:rPr>
              <a:t>We will deliver a platform that allows clinicians to seamlessly service our customers whether they are in the hospital, the clinic, a home, an office, on a phone, or any digital channel.</a:t>
            </a:r>
          </a:p>
          <a:p>
            <a:pPr marL="285750" indent="-285750" defTabSz="456758" fontAlgn="base">
              <a:spcBef>
                <a:spcPts val="0"/>
              </a:spcBef>
              <a:spcAft>
                <a:spcPts val="400"/>
              </a:spcAft>
              <a:buFont typeface="Arial" panose="020B0604020202020204" pitchFamily="34" charset="0"/>
              <a:buChar char="•"/>
            </a:pPr>
            <a:endParaRPr lang="en-US" sz="1700" b="1" dirty="0">
              <a:solidFill>
                <a:srgbClr val="064E69"/>
              </a:solidFill>
              <a:cs typeface="Open Sans Light"/>
            </a:endParaRPr>
          </a:p>
          <a:p>
            <a:pPr marL="285750" indent="-285750" defTabSz="456758" fontAlgn="base">
              <a:spcAft>
                <a:spcPts val="400"/>
              </a:spcAft>
              <a:buFont typeface="Arial" panose="020B0604020202020204" pitchFamily="34" charset="0"/>
              <a:buChar char="•"/>
            </a:pPr>
            <a:endParaRPr lang="en-US" b="1" dirty="0">
              <a:solidFill>
                <a:srgbClr val="064E69"/>
              </a:solidFill>
              <a:cs typeface="Open Sans Light"/>
            </a:endParaRPr>
          </a:p>
          <a:p>
            <a:pPr marL="285750" indent="-285750" defTabSz="456758" fontAlgn="base">
              <a:buFont typeface="Arial" panose="020B0604020202020204" pitchFamily="34" charset="0"/>
              <a:buChar char="•"/>
            </a:pPr>
            <a:endParaRPr lang="en-US" b="1" dirty="0">
              <a:solidFill>
                <a:srgbClr val="064E69"/>
              </a:solidFill>
              <a:cs typeface="Open Sans Light"/>
            </a:endParaRPr>
          </a:p>
          <a:p>
            <a:pPr marL="285750" indent="-285750" defTabSz="456758" fontAlgn="base">
              <a:buFont typeface="Arial" panose="020B0604020202020204" pitchFamily="34" charset="0"/>
              <a:buChar char="•"/>
            </a:pPr>
            <a:endParaRPr lang="en-US" b="1" dirty="0">
              <a:solidFill>
                <a:srgbClr val="064E69"/>
              </a:solidFill>
              <a:cs typeface="Open Sans Light"/>
            </a:endParaRPr>
          </a:p>
        </p:txBody>
      </p:sp>
    </p:spTree>
    <p:extLst>
      <p:ext uri="{BB962C8B-B14F-4D97-AF65-F5344CB8AC3E}">
        <p14:creationId xmlns:p14="http://schemas.microsoft.com/office/powerpoint/2010/main" val="7078327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1">
            <a:extLst>
              <a:ext uri="{FF2B5EF4-FFF2-40B4-BE49-F238E27FC236}">
                <a16:creationId xmlns:a16="http://schemas.microsoft.com/office/drawing/2014/main" id="{56AE07DD-A0E5-483E-BC89-911BCA6725D9}"/>
              </a:ext>
            </a:extLst>
          </p:cNvPr>
          <p:cNvSpPr txBox="1">
            <a:spLocks/>
          </p:cNvSpPr>
          <p:nvPr/>
        </p:nvSpPr>
        <p:spPr>
          <a:xfrm>
            <a:off x="309313" y="297738"/>
            <a:ext cx="9688623" cy="476805"/>
          </a:xfrm>
          <a:prstGeom prst="rect">
            <a:avLst/>
          </a:prstGeom>
        </p:spPr>
        <p:txBody>
          <a:bodyPr tIns="0" bIns="0" anchor="t" anchorCtr="0"/>
          <a:lstStyle>
            <a:lvl1pPr algn="l" defTabSz="457200" rtl="0" eaLnBrk="1" fontAlgn="base" hangingPunct="1">
              <a:lnSpc>
                <a:spcPct val="90000"/>
              </a:lnSpc>
              <a:spcBef>
                <a:spcPct val="0"/>
              </a:spcBef>
              <a:spcAft>
                <a:spcPct val="0"/>
              </a:spcAft>
              <a:defRPr sz="3000" b="1" kern="120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algn="l" defTabSz="457200" rtl="0" eaLnBrk="1" fontAlgn="base" hangingPunct="1">
              <a:lnSpc>
                <a:spcPct val="90000"/>
              </a:lnSpc>
              <a:spcBef>
                <a:spcPct val="0"/>
              </a:spcBef>
              <a:spcAft>
                <a:spcPct val="0"/>
              </a:spcAft>
              <a:defRPr sz="2600" b="1">
                <a:solidFill>
                  <a:schemeClr val="tx1"/>
                </a:solidFill>
                <a:latin typeface="Arial" pitchFamily="34" charset="0"/>
              </a:defRPr>
            </a:lvl2pPr>
            <a:lvl3pPr algn="l" defTabSz="457200" rtl="0" eaLnBrk="1" fontAlgn="base" hangingPunct="1">
              <a:lnSpc>
                <a:spcPct val="90000"/>
              </a:lnSpc>
              <a:spcBef>
                <a:spcPct val="0"/>
              </a:spcBef>
              <a:spcAft>
                <a:spcPct val="0"/>
              </a:spcAft>
              <a:defRPr sz="2600" b="1">
                <a:solidFill>
                  <a:schemeClr val="tx1"/>
                </a:solidFill>
                <a:latin typeface="Arial" pitchFamily="34" charset="0"/>
              </a:defRPr>
            </a:lvl3pPr>
            <a:lvl4pPr algn="l" defTabSz="457200" rtl="0" eaLnBrk="1" fontAlgn="base" hangingPunct="1">
              <a:lnSpc>
                <a:spcPct val="90000"/>
              </a:lnSpc>
              <a:spcBef>
                <a:spcPct val="0"/>
              </a:spcBef>
              <a:spcAft>
                <a:spcPct val="0"/>
              </a:spcAft>
              <a:defRPr sz="2600" b="1">
                <a:solidFill>
                  <a:schemeClr val="tx1"/>
                </a:solidFill>
                <a:latin typeface="Arial" pitchFamily="34" charset="0"/>
              </a:defRPr>
            </a:lvl4pPr>
            <a:lvl5pPr algn="l" defTabSz="457200" rtl="0" eaLnBrk="1" fontAlgn="base" hangingPunct="1">
              <a:lnSpc>
                <a:spcPct val="90000"/>
              </a:lnSpc>
              <a:spcBef>
                <a:spcPct val="0"/>
              </a:spcBef>
              <a:spcAft>
                <a:spcPct val="0"/>
              </a:spcAft>
              <a:defRPr sz="2600" b="1">
                <a:solidFill>
                  <a:schemeClr val="tx1"/>
                </a:solidFill>
                <a:latin typeface="Arial" pitchFamily="34" charset="0"/>
              </a:defRPr>
            </a:lvl5pPr>
            <a:lvl6pPr marL="457200" algn="l" defTabSz="457200" rtl="0" eaLnBrk="1" fontAlgn="base" hangingPunct="1">
              <a:lnSpc>
                <a:spcPct val="90000"/>
              </a:lnSpc>
              <a:spcBef>
                <a:spcPct val="0"/>
              </a:spcBef>
              <a:spcAft>
                <a:spcPct val="0"/>
              </a:spcAft>
              <a:defRPr sz="2600" b="1">
                <a:solidFill>
                  <a:schemeClr val="tx1"/>
                </a:solidFill>
                <a:latin typeface="Arial" pitchFamily="34" charset="0"/>
              </a:defRPr>
            </a:lvl6pPr>
            <a:lvl7pPr marL="914400" algn="l" defTabSz="457200" rtl="0" eaLnBrk="1" fontAlgn="base" hangingPunct="1">
              <a:lnSpc>
                <a:spcPct val="90000"/>
              </a:lnSpc>
              <a:spcBef>
                <a:spcPct val="0"/>
              </a:spcBef>
              <a:spcAft>
                <a:spcPct val="0"/>
              </a:spcAft>
              <a:defRPr sz="2600" b="1">
                <a:solidFill>
                  <a:schemeClr val="tx1"/>
                </a:solidFill>
                <a:latin typeface="Arial" pitchFamily="34" charset="0"/>
              </a:defRPr>
            </a:lvl7pPr>
            <a:lvl8pPr marL="1371600" algn="l" defTabSz="457200" rtl="0" eaLnBrk="1" fontAlgn="base" hangingPunct="1">
              <a:lnSpc>
                <a:spcPct val="90000"/>
              </a:lnSpc>
              <a:spcBef>
                <a:spcPct val="0"/>
              </a:spcBef>
              <a:spcAft>
                <a:spcPct val="0"/>
              </a:spcAft>
              <a:defRPr sz="2600" b="1">
                <a:solidFill>
                  <a:schemeClr val="tx1"/>
                </a:solidFill>
                <a:latin typeface="Arial" pitchFamily="34" charset="0"/>
              </a:defRPr>
            </a:lvl8pPr>
            <a:lvl9pPr marL="1828800" algn="l" defTabSz="457200" rtl="0" eaLnBrk="1" fontAlgn="base" hangingPunct="1">
              <a:lnSpc>
                <a:spcPct val="90000"/>
              </a:lnSpc>
              <a:spcBef>
                <a:spcPct val="0"/>
              </a:spcBef>
              <a:spcAft>
                <a:spcPct val="0"/>
              </a:spcAft>
              <a:defRPr sz="2600" b="1">
                <a:solidFill>
                  <a:schemeClr val="tx1"/>
                </a:solidFill>
                <a:latin typeface="Arial" pitchFamily="34" charset="0"/>
              </a:defRPr>
            </a:lvl9pPr>
          </a:lstStyle>
          <a:p>
            <a:r>
              <a:rPr lang="en-US" dirty="0"/>
              <a:t>Clinical Future</a:t>
            </a:r>
          </a:p>
        </p:txBody>
      </p:sp>
      <p:sp>
        <p:nvSpPr>
          <p:cNvPr id="23" name="Text Placeholder 2">
            <a:extLst>
              <a:ext uri="{FF2B5EF4-FFF2-40B4-BE49-F238E27FC236}">
                <a16:creationId xmlns:a16="http://schemas.microsoft.com/office/drawing/2014/main" id="{5B9BEBDA-514C-420C-B426-9AECF5AFE95E}"/>
              </a:ext>
            </a:extLst>
          </p:cNvPr>
          <p:cNvSpPr>
            <a:spLocks noGrp="1"/>
          </p:cNvSpPr>
          <p:nvPr>
            <p:ph type="body" sz="quarter" idx="11"/>
          </p:nvPr>
        </p:nvSpPr>
        <p:spPr>
          <a:xfrm>
            <a:off x="457200" y="860151"/>
            <a:ext cx="9688622" cy="423094"/>
          </a:xfrm>
        </p:spPr>
        <p:txBody>
          <a:bodyPr/>
          <a:lstStyle/>
          <a:p>
            <a:endParaRPr lang="en-US"/>
          </a:p>
        </p:txBody>
      </p:sp>
      <p:grpSp>
        <p:nvGrpSpPr>
          <p:cNvPr id="24" name="Group 23">
            <a:extLst>
              <a:ext uri="{FF2B5EF4-FFF2-40B4-BE49-F238E27FC236}">
                <a16:creationId xmlns:a16="http://schemas.microsoft.com/office/drawing/2014/main" id="{AC020088-29D5-4743-9961-FDAD0C37C2E7}"/>
              </a:ext>
            </a:extLst>
          </p:cNvPr>
          <p:cNvGrpSpPr/>
          <p:nvPr/>
        </p:nvGrpSpPr>
        <p:grpSpPr>
          <a:xfrm>
            <a:off x="2048724" y="2565014"/>
            <a:ext cx="7299065" cy="1389945"/>
            <a:chOff x="1179305" y="2079488"/>
            <a:chExt cx="7413171" cy="1389945"/>
          </a:xfrm>
        </p:grpSpPr>
        <p:sp>
          <p:nvSpPr>
            <p:cNvPr id="25" name="Rectangle 24">
              <a:extLst>
                <a:ext uri="{FF2B5EF4-FFF2-40B4-BE49-F238E27FC236}">
                  <a16:creationId xmlns:a16="http://schemas.microsoft.com/office/drawing/2014/main" id="{1C1EF2D9-5FCD-4EAD-8595-3134D52DB3BF}"/>
                </a:ext>
              </a:extLst>
            </p:cNvPr>
            <p:cNvSpPr/>
            <p:nvPr/>
          </p:nvSpPr>
          <p:spPr>
            <a:xfrm>
              <a:off x="1179305" y="3119523"/>
              <a:ext cx="7413171" cy="349910"/>
            </a:xfrm>
            <a:prstGeom prst="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cs typeface="Open Sans Bold"/>
              </a:endParaRPr>
            </a:p>
          </p:txBody>
        </p:sp>
        <p:sp>
          <p:nvSpPr>
            <p:cNvPr id="26" name="Rectangle 25">
              <a:extLst>
                <a:ext uri="{FF2B5EF4-FFF2-40B4-BE49-F238E27FC236}">
                  <a16:creationId xmlns:a16="http://schemas.microsoft.com/office/drawing/2014/main" id="{2B68B52D-8B4A-4EA2-AE7A-E860C181D2C7}"/>
                </a:ext>
              </a:extLst>
            </p:cNvPr>
            <p:cNvSpPr/>
            <p:nvPr/>
          </p:nvSpPr>
          <p:spPr>
            <a:xfrm>
              <a:off x="6334051" y="3120365"/>
              <a:ext cx="1730475" cy="348658"/>
            </a:xfrm>
            <a:prstGeom prst="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cs typeface="Open Sans Bold"/>
                </a:rPr>
                <a:t>Epic</a:t>
              </a:r>
            </a:p>
          </p:txBody>
        </p:sp>
        <p:sp>
          <p:nvSpPr>
            <p:cNvPr id="27" name="Rectangle: Rounded Corners 26">
              <a:extLst>
                <a:ext uri="{FF2B5EF4-FFF2-40B4-BE49-F238E27FC236}">
                  <a16:creationId xmlns:a16="http://schemas.microsoft.com/office/drawing/2014/main" id="{9BB2410E-1D46-4FF8-8C19-5A21CA4F3824}"/>
                </a:ext>
              </a:extLst>
            </p:cNvPr>
            <p:cNvSpPr/>
            <p:nvPr/>
          </p:nvSpPr>
          <p:spPr>
            <a:xfrm>
              <a:off x="5462272" y="2079488"/>
              <a:ext cx="1654629" cy="707572"/>
            </a:xfrm>
            <a:prstGeom prst="round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cs typeface="Open Sans Bold"/>
                </a:rPr>
                <a:t>Clinic</a:t>
              </a:r>
            </a:p>
          </p:txBody>
        </p:sp>
        <p:sp>
          <p:nvSpPr>
            <p:cNvPr id="28" name="Rectangle: Rounded Corners 27">
              <a:extLst>
                <a:ext uri="{FF2B5EF4-FFF2-40B4-BE49-F238E27FC236}">
                  <a16:creationId xmlns:a16="http://schemas.microsoft.com/office/drawing/2014/main" id="{32119A25-D90E-40E9-AE4D-AAB6F548334D}"/>
                </a:ext>
              </a:extLst>
            </p:cNvPr>
            <p:cNvSpPr/>
            <p:nvPr/>
          </p:nvSpPr>
          <p:spPr>
            <a:xfrm>
              <a:off x="1237121" y="2083548"/>
              <a:ext cx="1877050" cy="707572"/>
            </a:xfrm>
            <a:prstGeom prst="round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cs typeface="Open Sans Bold"/>
                </a:rPr>
                <a:t>Care </a:t>
              </a:r>
            </a:p>
            <a:p>
              <a:pPr algn="ctr"/>
              <a:r>
                <a:rPr lang="en-US" dirty="0">
                  <a:latin typeface="+mj-lt"/>
                  <a:cs typeface="Open Sans Bold"/>
                </a:rPr>
                <a:t>Management</a:t>
              </a:r>
            </a:p>
          </p:txBody>
        </p:sp>
        <p:cxnSp>
          <p:nvCxnSpPr>
            <p:cNvPr id="30" name="Straight Connector 29">
              <a:extLst>
                <a:ext uri="{FF2B5EF4-FFF2-40B4-BE49-F238E27FC236}">
                  <a16:creationId xmlns:a16="http://schemas.microsoft.com/office/drawing/2014/main" id="{9AB7DA14-A2F2-4749-97D5-CA880580BE38}"/>
                </a:ext>
              </a:extLst>
            </p:cNvPr>
            <p:cNvCxnSpPr>
              <a:cxnSpLocks/>
            </p:cNvCxnSpPr>
            <p:nvPr/>
          </p:nvCxnSpPr>
          <p:spPr>
            <a:xfrm>
              <a:off x="1963171" y="2751508"/>
              <a:ext cx="0" cy="330712"/>
            </a:xfrm>
            <a:prstGeom prst="line">
              <a:avLst/>
            </a:prstGeom>
            <a:ln w="1270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0B0F2D8-3059-404E-A696-30F058BD7ADF}"/>
                </a:ext>
              </a:extLst>
            </p:cNvPr>
            <p:cNvCxnSpPr>
              <a:cxnSpLocks/>
              <a:stCxn id="27" idx="2"/>
            </p:cNvCxnSpPr>
            <p:nvPr/>
          </p:nvCxnSpPr>
          <p:spPr>
            <a:xfrm>
              <a:off x="6289587" y="2787060"/>
              <a:ext cx="0" cy="306492"/>
            </a:xfrm>
            <a:prstGeom prst="line">
              <a:avLst/>
            </a:prstGeom>
            <a:ln w="12700" cmpd="sng">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2" name="Rectangle 31">
            <a:extLst>
              <a:ext uri="{FF2B5EF4-FFF2-40B4-BE49-F238E27FC236}">
                <a16:creationId xmlns:a16="http://schemas.microsoft.com/office/drawing/2014/main" id="{ED4BA771-AFD5-4FDE-8DBE-49F5D19D84D3}"/>
              </a:ext>
            </a:extLst>
          </p:cNvPr>
          <p:cNvSpPr/>
          <p:nvPr/>
        </p:nvSpPr>
        <p:spPr>
          <a:xfrm>
            <a:off x="2137380" y="3605049"/>
            <a:ext cx="2557510" cy="349910"/>
          </a:xfrm>
          <a:prstGeom prst="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atin typeface="+mj-lt"/>
                <a:cs typeface="Open Sans Bold"/>
              </a:rPr>
              <a:t>MedCompass</a:t>
            </a:r>
          </a:p>
        </p:txBody>
      </p:sp>
      <p:grpSp>
        <p:nvGrpSpPr>
          <p:cNvPr id="60" name="Group 59">
            <a:extLst>
              <a:ext uri="{FF2B5EF4-FFF2-40B4-BE49-F238E27FC236}">
                <a16:creationId xmlns:a16="http://schemas.microsoft.com/office/drawing/2014/main" id="{C025C42F-71B0-4DF5-8817-2D2BAF36372C}"/>
              </a:ext>
            </a:extLst>
          </p:cNvPr>
          <p:cNvGrpSpPr/>
          <p:nvPr/>
        </p:nvGrpSpPr>
        <p:grpSpPr>
          <a:xfrm>
            <a:off x="2731659" y="2106421"/>
            <a:ext cx="600005" cy="425350"/>
            <a:chOff x="1655339" y="5373050"/>
            <a:chExt cx="600005" cy="425350"/>
          </a:xfrm>
        </p:grpSpPr>
        <p:sp>
          <p:nvSpPr>
            <p:cNvPr id="33" name="Freeform 24">
              <a:extLst>
                <a:ext uri="{FF2B5EF4-FFF2-40B4-BE49-F238E27FC236}">
                  <a16:creationId xmlns:a16="http://schemas.microsoft.com/office/drawing/2014/main" id="{DA2BDA01-730B-4E75-A0EA-DF98BBA77281}"/>
                </a:ext>
              </a:extLst>
            </p:cNvPr>
            <p:cNvSpPr>
              <a:spLocks noEditPoints="1"/>
            </p:cNvSpPr>
            <p:nvPr/>
          </p:nvSpPr>
          <p:spPr bwMode="auto">
            <a:xfrm>
              <a:off x="1700961" y="5373050"/>
              <a:ext cx="448797" cy="294576"/>
            </a:xfrm>
            <a:custGeom>
              <a:avLst/>
              <a:gdLst/>
              <a:ahLst/>
              <a:cxnLst>
                <a:cxn ang="0">
                  <a:pos x="231" y="141"/>
                </a:cxn>
                <a:cxn ang="0">
                  <a:pos x="206" y="82"/>
                </a:cxn>
                <a:cxn ang="0">
                  <a:pos x="217" y="156"/>
                </a:cxn>
                <a:cxn ang="0">
                  <a:pos x="210" y="168"/>
                </a:cxn>
                <a:cxn ang="0">
                  <a:pos x="208" y="165"/>
                </a:cxn>
                <a:cxn ang="0">
                  <a:pos x="157" y="137"/>
                </a:cxn>
                <a:cxn ang="0">
                  <a:pos x="141" y="71"/>
                </a:cxn>
                <a:cxn ang="0">
                  <a:pos x="144" y="62"/>
                </a:cxn>
                <a:cxn ang="0">
                  <a:pos x="201" y="48"/>
                </a:cxn>
                <a:cxn ang="0">
                  <a:pos x="219" y="62"/>
                </a:cxn>
                <a:cxn ang="0">
                  <a:pos x="234" y="141"/>
                </a:cxn>
                <a:cxn ang="0">
                  <a:pos x="170" y="198"/>
                </a:cxn>
                <a:cxn ang="0">
                  <a:pos x="164" y="242"/>
                </a:cxn>
                <a:cxn ang="0">
                  <a:pos x="81" y="242"/>
                </a:cxn>
                <a:cxn ang="0">
                  <a:pos x="75" y="198"/>
                </a:cxn>
                <a:cxn ang="0">
                  <a:pos x="40" y="219"/>
                </a:cxn>
                <a:cxn ang="0">
                  <a:pos x="48" y="169"/>
                </a:cxn>
                <a:cxn ang="0">
                  <a:pos x="104" y="149"/>
                </a:cxn>
                <a:cxn ang="0">
                  <a:pos x="141" y="149"/>
                </a:cxn>
                <a:cxn ang="0">
                  <a:pos x="196" y="169"/>
                </a:cxn>
                <a:cxn ang="0">
                  <a:pos x="204" y="219"/>
                </a:cxn>
                <a:cxn ang="0">
                  <a:pos x="35" y="169"/>
                </a:cxn>
                <a:cxn ang="0">
                  <a:pos x="36" y="80"/>
                </a:cxn>
                <a:cxn ang="0">
                  <a:pos x="21" y="131"/>
                </a:cxn>
                <a:cxn ang="0">
                  <a:pos x="9" y="140"/>
                </a:cxn>
                <a:cxn ang="0">
                  <a:pos x="12" y="61"/>
                </a:cxn>
                <a:cxn ang="0">
                  <a:pos x="31" y="47"/>
                </a:cxn>
                <a:cxn ang="0">
                  <a:pos x="62" y="69"/>
                </a:cxn>
                <a:cxn ang="0">
                  <a:pos x="94" y="47"/>
                </a:cxn>
                <a:cxn ang="0">
                  <a:pos x="113" y="61"/>
                </a:cxn>
                <a:cxn ang="0">
                  <a:pos x="91" y="80"/>
                </a:cxn>
                <a:cxn ang="0">
                  <a:pos x="90" y="81"/>
                </a:cxn>
                <a:cxn ang="0">
                  <a:pos x="87" y="137"/>
                </a:cxn>
                <a:cxn ang="0">
                  <a:pos x="36" y="165"/>
                </a:cxn>
                <a:cxn ang="0">
                  <a:pos x="62" y="0"/>
                </a:cxn>
                <a:cxn ang="0">
                  <a:pos x="62" y="40"/>
                </a:cxn>
                <a:cxn ang="0">
                  <a:pos x="62" y="0"/>
                </a:cxn>
                <a:cxn ang="0">
                  <a:pos x="154" y="110"/>
                </a:cxn>
                <a:cxn ang="0">
                  <a:pos x="91" y="110"/>
                </a:cxn>
                <a:cxn ang="0">
                  <a:pos x="182" y="0"/>
                </a:cxn>
                <a:cxn ang="0">
                  <a:pos x="182" y="40"/>
                </a:cxn>
                <a:cxn ang="0">
                  <a:pos x="182" y="0"/>
                </a:cxn>
              </a:cxnLst>
              <a:rect l="0" t="0" r="r" b="b"/>
              <a:pathLst>
                <a:path w="241" h="248">
                  <a:moveTo>
                    <a:pt x="234" y="141"/>
                  </a:moveTo>
                  <a:cubicBezTo>
                    <a:pt x="233" y="141"/>
                    <a:pt x="232" y="141"/>
                    <a:pt x="231" y="141"/>
                  </a:cubicBezTo>
                  <a:cubicBezTo>
                    <a:pt x="227" y="141"/>
                    <a:pt x="223" y="139"/>
                    <a:pt x="222" y="134"/>
                  </a:cubicBezTo>
                  <a:cubicBezTo>
                    <a:pt x="206" y="82"/>
                    <a:pt x="206" y="82"/>
                    <a:pt x="206" y="82"/>
                  </a:cubicBezTo>
                  <a:cubicBezTo>
                    <a:pt x="198" y="82"/>
                    <a:pt x="198" y="82"/>
                    <a:pt x="198" y="82"/>
                  </a:cubicBezTo>
                  <a:cubicBezTo>
                    <a:pt x="217" y="156"/>
                    <a:pt x="217" y="156"/>
                    <a:pt x="217" y="156"/>
                  </a:cubicBezTo>
                  <a:cubicBezTo>
                    <a:pt x="218" y="157"/>
                    <a:pt x="218" y="158"/>
                    <a:pt x="218" y="160"/>
                  </a:cubicBezTo>
                  <a:cubicBezTo>
                    <a:pt x="218" y="164"/>
                    <a:pt x="214" y="168"/>
                    <a:pt x="210" y="168"/>
                  </a:cubicBezTo>
                  <a:cubicBezTo>
                    <a:pt x="209" y="168"/>
                    <a:pt x="209" y="168"/>
                    <a:pt x="209" y="168"/>
                  </a:cubicBezTo>
                  <a:cubicBezTo>
                    <a:pt x="208" y="167"/>
                    <a:pt x="208" y="166"/>
                    <a:pt x="208" y="165"/>
                  </a:cubicBezTo>
                  <a:cubicBezTo>
                    <a:pt x="203" y="148"/>
                    <a:pt x="186" y="137"/>
                    <a:pt x="168" y="137"/>
                  </a:cubicBezTo>
                  <a:cubicBezTo>
                    <a:pt x="157" y="137"/>
                    <a:pt x="157" y="137"/>
                    <a:pt x="157" y="137"/>
                  </a:cubicBezTo>
                  <a:cubicBezTo>
                    <a:pt x="163" y="129"/>
                    <a:pt x="166" y="120"/>
                    <a:pt x="166" y="110"/>
                  </a:cubicBezTo>
                  <a:cubicBezTo>
                    <a:pt x="166" y="93"/>
                    <a:pt x="156" y="78"/>
                    <a:pt x="141" y="71"/>
                  </a:cubicBezTo>
                  <a:cubicBezTo>
                    <a:pt x="144" y="62"/>
                    <a:pt x="144" y="62"/>
                    <a:pt x="144" y="62"/>
                  </a:cubicBezTo>
                  <a:cubicBezTo>
                    <a:pt x="144" y="62"/>
                    <a:pt x="144" y="62"/>
                    <a:pt x="144" y="62"/>
                  </a:cubicBezTo>
                  <a:cubicBezTo>
                    <a:pt x="147" y="53"/>
                    <a:pt x="154" y="48"/>
                    <a:pt x="162" y="48"/>
                  </a:cubicBezTo>
                  <a:cubicBezTo>
                    <a:pt x="201" y="48"/>
                    <a:pt x="201" y="48"/>
                    <a:pt x="201" y="48"/>
                  </a:cubicBezTo>
                  <a:cubicBezTo>
                    <a:pt x="209" y="48"/>
                    <a:pt x="216" y="53"/>
                    <a:pt x="219" y="62"/>
                  </a:cubicBezTo>
                  <a:cubicBezTo>
                    <a:pt x="219" y="62"/>
                    <a:pt x="219" y="62"/>
                    <a:pt x="219" y="62"/>
                  </a:cubicBezTo>
                  <a:cubicBezTo>
                    <a:pt x="240" y="129"/>
                    <a:pt x="240" y="129"/>
                    <a:pt x="240" y="129"/>
                  </a:cubicBezTo>
                  <a:cubicBezTo>
                    <a:pt x="241" y="134"/>
                    <a:pt x="238" y="139"/>
                    <a:pt x="234" y="141"/>
                  </a:cubicBezTo>
                  <a:close/>
                  <a:moveTo>
                    <a:pt x="176" y="237"/>
                  </a:moveTo>
                  <a:cubicBezTo>
                    <a:pt x="170" y="198"/>
                    <a:pt x="170" y="198"/>
                    <a:pt x="170" y="198"/>
                  </a:cubicBezTo>
                  <a:cubicBezTo>
                    <a:pt x="162" y="198"/>
                    <a:pt x="162" y="198"/>
                    <a:pt x="162" y="198"/>
                  </a:cubicBezTo>
                  <a:cubicBezTo>
                    <a:pt x="164" y="242"/>
                    <a:pt x="164" y="242"/>
                    <a:pt x="164" y="242"/>
                  </a:cubicBezTo>
                  <a:cubicBezTo>
                    <a:pt x="151" y="246"/>
                    <a:pt x="137" y="248"/>
                    <a:pt x="122" y="248"/>
                  </a:cubicBezTo>
                  <a:cubicBezTo>
                    <a:pt x="108" y="248"/>
                    <a:pt x="94" y="246"/>
                    <a:pt x="81" y="242"/>
                  </a:cubicBezTo>
                  <a:cubicBezTo>
                    <a:pt x="83" y="198"/>
                    <a:pt x="83" y="198"/>
                    <a:pt x="83" y="198"/>
                  </a:cubicBezTo>
                  <a:cubicBezTo>
                    <a:pt x="75" y="198"/>
                    <a:pt x="75" y="198"/>
                    <a:pt x="75" y="198"/>
                  </a:cubicBezTo>
                  <a:cubicBezTo>
                    <a:pt x="67" y="237"/>
                    <a:pt x="67" y="237"/>
                    <a:pt x="67" y="237"/>
                  </a:cubicBezTo>
                  <a:cubicBezTo>
                    <a:pt x="57" y="232"/>
                    <a:pt x="48" y="226"/>
                    <a:pt x="40" y="219"/>
                  </a:cubicBezTo>
                  <a:cubicBezTo>
                    <a:pt x="48" y="171"/>
                    <a:pt x="48" y="171"/>
                    <a:pt x="48" y="171"/>
                  </a:cubicBezTo>
                  <a:cubicBezTo>
                    <a:pt x="48" y="170"/>
                    <a:pt x="48" y="169"/>
                    <a:pt x="48" y="169"/>
                  </a:cubicBezTo>
                  <a:cubicBezTo>
                    <a:pt x="52" y="157"/>
                    <a:pt x="63" y="149"/>
                    <a:pt x="77" y="149"/>
                  </a:cubicBezTo>
                  <a:cubicBezTo>
                    <a:pt x="104" y="149"/>
                    <a:pt x="104" y="149"/>
                    <a:pt x="104" y="149"/>
                  </a:cubicBezTo>
                  <a:cubicBezTo>
                    <a:pt x="123" y="182"/>
                    <a:pt x="123" y="182"/>
                    <a:pt x="123" y="182"/>
                  </a:cubicBezTo>
                  <a:cubicBezTo>
                    <a:pt x="141" y="149"/>
                    <a:pt x="141" y="149"/>
                    <a:pt x="141" y="149"/>
                  </a:cubicBezTo>
                  <a:cubicBezTo>
                    <a:pt x="168" y="149"/>
                    <a:pt x="168" y="149"/>
                    <a:pt x="168" y="149"/>
                  </a:cubicBezTo>
                  <a:cubicBezTo>
                    <a:pt x="181" y="149"/>
                    <a:pt x="192" y="157"/>
                    <a:pt x="196" y="169"/>
                  </a:cubicBezTo>
                  <a:cubicBezTo>
                    <a:pt x="196" y="169"/>
                    <a:pt x="196" y="170"/>
                    <a:pt x="196" y="171"/>
                  </a:cubicBezTo>
                  <a:cubicBezTo>
                    <a:pt x="204" y="219"/>
                    <a:pt x="204" y="219"/>
                    <a:pt x="204" y="219"/>
                  </a:cubicBezTo>
                  <a:cubicBezTo>
                    <a:pt x="196" y="226"/>
                    <a:pt x="186" y="232"/>
                    <a:pt x="176" y="237"/>
                  </a:cubicBezTo>
                  <a:close/>
                  <a:moveTo>
                    <a:pt x="35" y="169"/>
                  </a:moveTo>
                  <a:cubicBezTo>
                    <a:pt x="34" y="174"/>
                    <a:pt x="34" y="174"/>
                    <a:pt x="34" y="174"/>
                  </a:cubicBezTo>
                  <a:cubicBezTo>
                    <a:pt x="36" y="80"/>
                    <a:pt x="36" y="80"/>
                    <a:pt x="36" y="80"/>
                  </a:cubicBezTo>
                  <a:cubicBezTo>
                    <a:pt x="30" y="80"/>
                    <a:pt x="30" y="80"/>
                    <a:pt x="30" y="80"/>
                  </a:cubicBezTo>
                  <a:cubicBezTo>
                    <a:pt x="21" y="131"/>
                    <a:pt x="21" y="131"/>
                    <a:pt x="21" y="131"/>
                  </a:cubicBezTo>
                  <a:cubicBezTo>
                    <a:pt x="20" y="136"/>
                    <a:pt x="16" y="140"/>
                    <a:pt x="11" y="140"/>
                  </a:cubicBezTo>
                  <a:cubicBezTo>
                    <a:pt x="11" y="140"/>
                    <a:pt x="10" y="140"/>
                    <a:pt x="9" y="140"/>
                  </a:cubicBezTo>
                  <a:cubicBezTo>
                    <a:pt x="4" y="139"/>
                    <a:pt x="0" y="133"/>
                    <a:pt x="1" y="128"/>
                  </a:cubicBezTo>
                  <a:cubicBezTo>
                    <a:pt x="12" y="61"/>
                    <a:pt x="12" y="61"/>
                    <a:pt x="12" y="61"/>
                  </a:cubicBezTo>
                  <a:cubicBezTo>
                    <a:pt x="12" y="60"/>
                    <a:pt x="12" y="60"/>
                    <a:pt x="12" y="60"/>
                  </a:cubicBezTo>
                  <a:cubicBezTo>
                    <a:pt x="15" y="52"/>
                    <a:pt x="23" y="47"/>
                    <a:pt x="31" y="47"/>
                  </a:cubicBezTo>
                  <a:cubicBezTo>
                    <a:pt x="49" y="47"/>
                    <a:pt x="49" y="47"/>
                    <a:pt x="49" y="47"/>
                  </a:cubicBezTo>
                  <a:cubicBezTo>
                    <a:pt x="62" y="69"/>
                    <a:pt x="62" y="69"/>
                    <a:pt x="62" y="69"/>
                  </a:cubicBezTo>
                  <a:cubicBezTo>
                    <a:pt x="76" y="47"/>
                    <a:pt x="76" y="47"/>
                    <a:pt x="76" y="47"/>
                  </a:cubicBezTo>
                  <a:cubicBezTo>
                    <a:pt x="94" y="47"/>
                    <a:pt x="94" y="47"/>
                    <a:pt x="94" y="47"/>
                  </a:cubicBezTo>
                  <a:cubicBezTo>
                    <a:pt x="103" y="47"/>
                    <a:pt x="110" y="52"/>
                    <a:pt x="113" y="60"/>
                  </a:cubicBezTo>
                  <a:cubicBezTo>
                    <a:pt x="113" y="61"/>
                    <a:pt x="113" y="61"/>
                    <a:pt x="113" y="61"/>
                  </a:cubicBezTo>
                  <a:cubicBezTo>
                    <a:pt x="114" y="67"/>
                    <a:pt x="114" y="67"/>
                    <a:pt x="114" y="67"/>
                  </a:cubicBezTo>
                  <a:cubicBezTo>
                    <a:pt x="105" y="69"/>
                    <a:pt x="97" y="73"/>
                    <a:pt x="91" y="80"/>
                  </a:cubicBezTo>
                  <a:cubicBezTo>
                    <a:pt x="90" y="80"/>
                    <a:pt x="90" y="80"/>
                    <a:pt x="90" y="80"/>
                  </a:cubicBezTo>
                  <a:cubicBezTo>
                    <a:pt x="90" y="81"/>
                    <a:pt x="90" y="81"/>
                    <a:pt x="90" y="81"/>
                  </a:cubicBezTo>
                  <a:cubicBezTo>
                    <a:pt x="83" y="88"/>
                    <a:pt x="79" y="99"/>
                    <a:pt x="79" y="110"/>
                  </a:cubicBezTo>
                  <a:cubicBezTo>
                    <a:pt x="79" y="120"/>
                    <a:pt x="82" y="129"/>
                    <a:pt x="87" y="137"/>
                  </a:cubicBezTo>
                  <a:cubicBezTo>
                    <a:pt x="77" y="137"/>
                    <a:pt x="77" y="137"/>
                    <a:pt x="77" y="137"/>
                  </a:cubicBezTo>
                  <a:cubicBezTo>
                    <a:pt x="58" y="137"/>
                    <a:pt x="41" y="148"/>
                    <a:pt x="36" y="165"/>
                  </a:cubicBezTo>
                  <a:cubicBezTo>
                    <a:pt x="36" y="166"/>
                    <a:pt x="35" y="167"/>
                    <a:pt x="35" y="169"/>
                  </a:cubicBezTo>
                  <a:close/>
                  <a:moveTo>
                    <a:pt x="62" y="0"/>
                  </a:moveTo>
                  <a:cubicBezTo>
                    <a:pt x="74" y="0"/>
                    <a:pt x="83" y="9"/>
                    <a:pt x="83" y="20"/>
                  </a:cubicBezTo>
                  <a:cubicBezTo>
                    <a:pt x="83" y="31"/>
                    <a:pt x="74" y="40"/>
                    <a:pt x="62" y="40"/>
                  </a:cubicBezTo>
                  <a:cubicBezTo>
                    <a:pt x="51" y="40"/>
                    <a:pt x="42" y="31"/>
                    <a:pt x="42" y="20"/>
                  </a:cubicBezTo>
                  <a:cubicBezTo>
                    <a:pt x="42" y="9"/>
                    <a:pt x="51" y="0"/>
                    <a:pt x="62" y="0"/>
                  </a:cubicBezTo>
                  <a:close/>
                  <a:moveTo>
                    <a:pt x="122" y="79"/>
                  </a:moveTo>
                  <a:cubicBezTo>
                    <a:pt x="140" y="79"/>
                    <a:pt x="154" y="93"/>
                    <a:pt x="154" y="110"/>
                  </a:cubicBezTo>
                  <a:cubicBezTo>
                    <a:pt x="154" y="127"/>
                    <a:pt x="140" y="141"/>
                    <a:pt x="122" y="141"/>
                  </a:cubicBezTo>
                  <a:cubicBezTo>
                    <a:pt x="105" y="141"/>
                    <a:pt x="91" y="127"/>
                    <a:pt x="91" y="110"/>
                  </a:cubicBezTo>
                  <a:cubicBezTo>
                    <a:pt x="91" y="93"/>
                    <a:pt x="105" y="79"/>
                    <a:pt x="122" y="79"/>
                  </a:cubicBezTo>
                  <a:close/>
                  <a:moveTo>
                    <a:pt x="182" y="0"/>
                  </a:moveTo>
                  <a:cubicBezTo>
                    <a:pt x="193" y="0"/>
                    <a:pt x="201" y="9"/>
                    <a:pt x="201" y="20"/>
                  </a:cubicBezTo>
                  <a:cubicBezTo>
                    <a:pt x="201" y="31"/>
                    <a:pt x="193" y="40"/>
                    <a:pt x="182" y="40"/>
                  </a:cubicBezTo>
                  <a:cubicBezTo>
                    <a:pt x="171" y="40"/>
                    <a:pt x="162" y="31"/>
                    <a:pt x="162" y="20"/>
                  </a:cubicBezTo>
                  <a:cubicBezTo>
                    <a:pt x="162" y="9"/>
                    <a:pt x="171" y="0"/>
                    <a:pt x="182" y="0"/>
                  </a:cubicBezTo>
                  <a:close/>
                </a:path>
              </a:pathLst>
            </a:custGeom>
            <a:solidFill>
              <a:srgbClr val="003C54"/>
            </a:solidFill>
            <a:ln w="9525">
              <a:noFill/>
              <a:round/>
              <a:headEnd/>
              <a:tailEnd/>
            </a:ln>
          </p:spPr>
          <p:txBody>
            <a:bodyPr vert="horz" wrap="square" lIns="100817" tIns="50408" rIns="100817" bIns="50408" numCol="1" anchor="t" anchorCtr="0" compatLnSpc="1">
              <a:prstTxWarp prst="textNoShape">
                <a:avLst/>
              </a:prstTxWarp>
            </a:bodyPr>
            <a:lstStyle/>
            <a:p>
              <a:endParaRPr lang="en-US" sz="2205">
                <a:latin typeface="Arial" panose="020B0604020202020204" pitchFamily="34" charset="0"/>
                <a:cs typeface="Arial" panose="020B0604020202020204" pitchFamily="34" charset="0"/>
                <a:sym typeface="Arial" panose="020B0604020202020204" pitchFamily="34" charset="0"/>
              </a:endParaRPr>
            </a:p>
          </p:txBody>
        </p:sp>
        <p:sp>
          <p:nvSpPr>
            <p:cNvPr id="34" name="TextBox 33">
              <a:extLst>
                <a:ext uri="{FF2B5EF4-FFF2-40B4-BE49-F238E27FC236}">
                  <a16:creationId xmlns:a16="http://schemas.microsoft.com/office/drawing/2014/main" id="{E0804927-34B9-429B-AEE0-6D1487D047D9}"/>
                </a:ext>
              </a:extLst>
            </p:cNvPr>
            <p:cNvSpPr txBox="1"/>
            <p:nvPr/>
          </p:nvSpPr>
          <p:spPr>
            <a:xfrm>
              <a:off x="1655339" y="5639844"/>
              <a:ext cx="600005" cy="158556"/>
            </a:xfrm>
            <a:prstGeom prst="rect">
              <a:avLst/>
            </a:prstGeom>
            <a:solidFill>
              <a:schemeClr val="bg1"/>
            </a:solidFill>
          </p:spPr>
          <p:txBody>
            <a:bodyPr wrap="square" lIns="0" tIns="0" rIns="0" bIns="0" rtlCol="0">
              <a:noAutofit/>
            </a:bodyPr>
            <a:lstStyle/>
            <a:p>
              <a:pPr defTabSz="456758" fontAlgn="base">
                <a:spcBef>
                  <a:spcPts val="1200"/>
                </a:spcBef>
              </a:pPr>
              <a:r>
                <a:rPr lang="en-US" sz="1200" dirty="0">
                  <a:solidFill>
                    <a:srgbClr val="064E69"/>
                  </a:solidFill>
                  <a:cs typeface="Open Sans Light"/>
                </a:rPr>
                <a:t>Nurses</a:t>
              </a:r>
            </a:p>
          </p:txBody>
        </p:sp>
      </p:grpSp>
      <p:sp>
        <p:nvSpPr>
          <p:cNvPr id="35" name="Freeform 24">
            <a:extLst>
              <a:ext uri="{FF2B5EF4-FFF2-40B4-BE49-F238E27FC236}">
                <a16:creationId xmlns:a16="http://schemas.microsoft.com/office/drawing/2014/main" id="{62F81917-8D2F-45EC-897C-05686814F5DA}"/>
              </a:ext>
            </a:extLst>
          </p:cNvPr>
          <p:cNvSpPr>
            <a:spLocks noEditPoints="1"/>
          </p:cNvSpPr>
          <p:nvPr/>
        </p:nvSpPr>
        <p:spPr bwMode="auto">
          <a:xfrm>
            <a:off x="8599952" y="2050023"/>
            <a:ext cx="448797" cy="294576"/>
          </a:xfrm>
          <a:custGeom>
            <a:avLst/>
            <a:gdLst/>
            <a:ahLst/>
            <a:cxnLst>
              <a:cxn ang="0">
                <a:pos x="231" y="141"/>
              </a:cxn>
              <a:cxn ang="0">
                <a:pos x="206" y="82"/>
              </a:cxn>
              <a:cxn ang="0">
                <a:pos x="217" y="156"/>
              </a:cxn>
              <a:cxn ang="0">
                <a:pos x="210" y="168"/>
              </a:cxn>
              <a:cxn ang="0">
                <a:pos x="208" y="165"/>
              </a:cxn>
              <a:cxn ang="0">
                <a:pos x="157" y="137"/>
              </a:cxn>
              <a:cxn ang="0">
                <a:pos x="141" y="71"/>
              </a:cxn>
              <a:cxn ang="0">
                <a:pos x="144" y="62"/>
              </a:cxn>
              <a:cxn ang="0">
                <a:pos x="201" y="48"/>
              </a:cxn>
              <a:cxn ang="0">
                <a:pos x="219" y="62"/>
              </a:cxn>
              <a:cxn ang="0">
                <a:pos x="234" y="141"/>
              </a:cxn>
              <a:cxn ang="0">
                <a:pos x="170" y="198"/>
              </a:cxn>
              <a:cxn ang="0">
                <a:pos x="164" y="242"/>
              </a:cxn>
              <a:cxn ang="0">
                <a:pos x="81" y="242"/>
              </a:cxn>
              <a:cxn ang="0">
                <a:pos x="75" y="198"/>
              </a:cxn>
              <a:cxn ang="0">
                <a:pos x="40" y="219"/>
              </a:cxn>
              <a:cxn ang="0">
                <a:pos x="48" y="169"/>
              </a:cxn>
              <a:cxn ang="0">
                <a:pos x="104" y="149"/>
              </a:cxn>
              <a:cxn ang="0">
                <a:pos x="141" y="149"/>
              </a:cxn>
              <a:cxn ang="0">
                <a:pos x="196" y="169"/>
              </a:cxn>
              <a:cxn ang="0">
                <a:pos x="204" y="219"/>
              </a:cxn>
              <a:cxn ang="0">
                <a:pos x="35" y="169"/>
              </a:cxn>
              <a:cxn ang="0">
                <a:pos x="36" y="80"/>
              </a:cxn>
              <a:cxn ang="0">
                <a:pos x="21" y="131"/>
              </a:cxn>
              <a:cxn ang="0">
                <a:pos x="9" y="140"/>
              </a:cxn>
              <a:cxn ang="0">
                <a:pos x="12" y="61"/>
              </a:cxn>
              <a:cxn ang="0">
                <a:pos x="31" y="47"/>
              </a:cxn>
              <a:cxn ang="0">
                <a:pos x="62" y="69"/>
              </a:cxn>
              <a:cxn ang="0">
                <a:pos x="94" y="47"/>
              </a:cxn>
              <a:cxn ang="0">
                <a:pos x="113" y="61"/>
              </a:cxn>
              <a:cxn ang="0">
                <a:pos x="91" y="80"/>
              </a:cxn>
              <a:cxn ang="0">
                <a:pos x="90" y="81"/>
              </a:cxn>
              <a:cxn ang="0">
                <a:pos x="87" y="137"/>
              </a:cxn>
              <a:cxn ang="0">
                <a:pos x="36" y="165"/>
              </a:cxn>
              <a:cxn ang="0">
                <a:pos x="62" y="0"/>
              </a:cxn>
              <a:cxn ang="0">
                <a:pos x="62" y="40"/>
              </a:cxn>
              <a:cxn ang="0">
                <a:pos x="62" y="0"/>
              </a:cxn>
              <a:cxn ang="0">
                <a:pos x="154" y="110"/>
              </a:cxn>
              <a:cxn ang="0">
                <a:pos x="91" y="110"/>
              </a:cxn>
              <a:cxn ang="0">
                <a:pos x="182" y="0"/>
              </a:cxn>
              <a:cxn ang="0">
                <a:pos x="182" y="40"/>
              </a:cxn>
              <a:cxn ang="0">
                <a:pos x="182" y="0"/>
              </a:cxn>
            </a:cxnLst>
            <a:rect l="0" t="0" r="r" b="b"/>
            <a:pathLst>
              <a:path w="241" h="248">
                <a:moveTo>
                  <a:pt x="234" y="141"/>
                </a:moveTo>
                <a:cubicBezTo>
                  <a:pt x="233" y="141"/>
                  <a:pt x="232" y="141"/>
                  <a:pt x="231" y="141"/>
                </a:cubicBezTo>
                <a:cubicBezTo>
                  <a:pt x="227" y="141"/>
                  <a:pt x="223" y="139"/>
                  <a:pt x="222" y="134"/>
                </a:cubicBezTo>
                <a:cubicBezTo>
                  <a:pt x="206" y="82"/>
                  <a:pt x="206" y="82"/>
                  <a:pt x="206" y="82"/>
                </a:cubicBezTo>
                <a:cubicBezTo>
                  <a:pt x="198" y="82"/>
                  <a:pt x="198" y="82"/>
                  <a:pt x="198" y="82"/>
                </a:cubicBezTo>
                <a:cubicBezTo>
                  <a:pt x="217" y="156"/>
                  <a:pt x="217" y="156"/>
                  <a:pt x="217" y="156"/>
                </a:cubicBezTo>
                <a:cubicBezTo>
                  <a:pt x="218" y="157"/>
                  <a:pt x="218" y="158"/>
                  <a:pt x="218" y="160"/>
                </a:cubicBezTo>
                <a:cubicBezTo>
                  <a:pt x="218" y="164"/>
                  <a:pt x="214" y="168"/>
                  <a:pt x="210" y="168"/>
                </a:cubicBezTo>
                <a:cubicBezTo>
                  <a:pt x="209" y="168"/>
                  <a:pt x="209" y="168"/>
                  <a:pt x="209" y="168"/>
                </a:cubicBezTo>
                <a:cubicBezTo>
                  <a:pt x="208" y="167"/>
                  <a:pt x="208" y="166"/>
                  <a:pt x="208" y="165"/>
                </a:cubicBezTo>
                <a:cubicBezTo>
                  <a:pt x="203" y="148"/>
                  <a:pt x="186" y="137"/>
                  <a:pt x="168" y="137"/>
                </a:cubicBezTo>
                <a:cubicBezTo>
                  <a:pt x="157" y="137"/>
                  <a:pt x="157" y="137"/>
                  <a:pt x="157" y="137"/>
                </a:cubicBezTo>
                <a:cubicBezTo>
                  <a:pt x="163" y="129"/>
                  <a:pt x="166" y="120"/>
                  <a:pt x="166" y="110"/>
                </a:cubicBezTo>
                <a:cubicBezTo>
                  <a:pt x="166" y="93"/>
                  <a:pt x="156" y="78"/>
                  <a:pt x="141" y="71"/>
                </a:cubicBezTo>
                <a:cubicBezTo>
                  <a:pt x="144" y="62"/>
                  <a:pt x="144" y="62"/>
                  <a:pt x="144" y="62"/>
                </a:cubicBezTo>
                <a:cubicBezTo>
                  <a:pt x="144" y="62"/>
                  <a:pt x="144" y="62"/>
                  <a:pt x="144" y="62"/>
                </a:cubicBezTo>
                <a:cubicBezTo>
                  <a:pt x="147" y="53"/>
                  <a:pt x="154" y="48"/>
                  <a:pt x="162" y="48"/>
                </a:cubicBezTo>
                <a:cubicBezTo>
                  <a:pt x="201" y="48"/>
                  <a:pt x="201" y="48"/>
                  <a:pt x="201" y="48"/>
                </a:cubicBezTo>
                <a:cubicBezTo>
                  <a:pt x="209" y="48"/>
                  <a:pt x="216" y="53"/>
                  <a:pt x="219" y="62"/>
                </a:cubicBezTo>
                <a:cubicBezTo>
                  <a:pt x="219" y="62"/>
                  <a:pt x="219" y="62"/>
                  <a:pt x="219" y="62"/>
                </a:cubicBezTo>
                <a:cubicBezTo>
                  <a:pt x="240" y="129"/>
                  <a:pt x="240" y="129"/>
                  <a:pt x="240" y="129"/>
                </a:cubicBezTo>
                <a:cubicBezTo>
                  <a:pt x="241" y="134"/>
                  <a:pt x="238" y="139"/>
                  <a:pt x="234" y="141"/>
                </a:cubicBezTo>
                <a:close/>
                <a:moveTo>
                  <a:pt x="176" y="237"/>
                </a:moveTo>
                <a:cubicBezTo>
                  <a:pt x="170" y="198"/>
                  <a:pt x="170" y="198"/>
                  <a:pt x="170" y="198"/>
                </a:cubicBezTo>
                <a:cubicBezTo>
                  <a:pt x="162" y="198"/>
                  <a:pt x="162" y="198"/>
                  <a:pt x="162" y="198"/>
                </a:cubicBezTo>
                <a:cubicBezTo>
                  <a:pt x="164" y="242"/>
                  <a:pt x="164" y="242"/>
                  <a:pt x="164" y="242"/>
                </a:cubicBezTo>
                <a:cubicBezTo>
                  <a:pt x="151" y="246"/>
                  <a:pt x="137" y="248"/>
                  <a:pt x="122" y="248"/>
                </a:cubicBezTo>
                <a:cubicBezTo>
                  <a:pt x="108" y="248"/>
                  <a:pt x="94" y="246"/>
                  <a:pt x="81" y="242"/>
                </a:cubicBezTo>
                <a:cubicBezTo>
                  <a:pt x="83" y="198"/>
                  <a:pt x="83" y="198"/>
                  <a:pt x="83" y="198"/>
                </a:cubicBezTo>
                <a:cubicBezTo>
                  <a:pt x="75" y="198"/>
                  <a:pt x="75" y="198"/>
                  <a:pt x="75" y="198"/>
                </a:cubicBezTo>
                <a:cubicBezTo>
                  <a:pt x="67" y="237"/>
                  <a:pt x="67" y="237"/>
                  <a:pt x="67" y="237"/>
                </a:cubicBezTo>
                <a:cubicBezTo>
                  <a:pt x="57" y="232"/>
                  <a:pt x="48" y="226"/>
                  <a:pt x="40" y="219"/>
                </a:cubicBezTo>
                <a:cubicBezTo>
                  <a:pt x="48" y="171"/>
                  <a:pt x="48" y="171"/>
                  <a:pt x="48" y="171"/>
                </a:cubicBezTo>
                <a:cubicBezTo>
                  <a:pt x="48" y="170"/>
                  <a:pt x="48" y="169"/>
                  <a:pt x="48" y="169"/>
                </a:cubicBezTo>
                <a:cubicBezTo>
                  <a:pt x="52" y="157"/>
                  <a:pt x="63" y="149"/>
                  <a:pt x="77" y="149"/>
                </a:cubicBezTo>
                <a:cubicBezTo>
                  <a:pt x="104" y="149"/>
                  <a:pt x="104" y="149"/>
                  <a:pt x="104" y="149"/>
                </a:cubicBezTo>
                <a:cubicBezTo>
                  <a:pt x="123" y="182"/>
                  <a:pt x="123" y="182"/>
                  <a:pt x="123" y="182"/>
                </a:cubicBezTo>
                <a:cubicBezTo>
                  <a:pt x="141" y="149"/>
                  <a:pt x="141" y="149"/>
                  <a:pt x="141" y="149"/>
                </a:cubicBezTo>
                <a:cubicBezTo>
                  <a:pt x="168" y="149"/>
                  <a:pt x="168" y="149"/>
                  <a:pt x="168" y="149"/>
                </a:cubicBezTo>
                <a:cubicBezTo>
                  <a:pt x="181" y="149"/>
                  <a:pt x="192" y="157"/>
                  <a:pt x="196" y="169"/>
                </a:cubicBezTo>
                <a:cubicBezTo>
                  <a:pt x="196" y="169"/>
                  <a:pt x="196" y="170"/>
                  <a:pt x="196" y="171"/>
                </a:cubicBezTo>
                <a:cubicBezTo>
                  <a:pt x="204" y="219"/>
                  <a:pt x="204" y="219"/>
                  <a:pt x="204" y="219"/>
                </a:cubicBezTo>
                <a:cubicBezTo>
                  <a:pt x="196" y="226"/>
                  <a:pt x="186" y="232"/>
                  <a:pt x="176" y="237"/>
                </a:cubicBezTo>
                <a:close/>
                <a:moveTo>
                  <a:pt x="35" y="169"/>
                </a:moveTo>
                <a:cubicBezTo>
                  <a:pt x="34" y="174"/>
                  <a:pt x="34" y="174"/>
                  <a:pt x="34" y="174"/>
                </a:cubicBezTo>
                <a:cubicBezTo>
                  <a:pt x="36" y="80"/>
                  <a:pt x="36" y="80"/>
                  <a:pt x="36" y="80"/>
                </a:cubicBezTo>
                <a:cubicBezTo>
                  <a:pt x="30" y="80"/>
                  <a:pt x="30" y="80"/>
                  <a:pt x="30" y="80"/>
                </a:cubicBezTo>
                <a:cubicBezTo>
                  <a:pt x="21" y="131"/>
                  <a:pt x="21" y="131"/>
                  <a:pt x="21" y="131"/>
                </a:cubicBezTo>
                <a:cubicBezTo>
                  <a:pt x="20" y="136"/>
                  <a:pt x="16" y="140"/>
                  <a:pt x="11" y="140"/>
                </a:cubicBezTo>
                <a:cubicBezTo>
                  <a:pt x="11" y="140"/>
                  <a:pt x="10" y="140"/>
                  <a:pt x="9" y="140"/>
                </a:cubicBezTo>
                <a:cubicBezTo>
                  <a:pt x="4" y="139"/>
                  <a:pt x="0" y="133"/>
                  <a:pt x="1" y="128"/>
                </a:cubicBezTo>
                <a:cubicBezTo>
                  <a:pt x="12" y="61"/>
                  <a:pt x="12" y="61"/>
                  <a:pt x="12" y="61"/>
                </a:cubicBezTo>
                <a:cubicBezTo>
                  <a:pt x="12" y="60"/>
                  <a:pt x="12" y="60"/>
                  <a:pt x="12" y="60"/>
                </a:cubicBezTo>
                <a:cubicBezTo>
                  <a:pt x="15" y="52"/>
                  <a:pt x="23" y="47"/>
                  <a:pt x="31" y="47"/>
                </a:cubicBezTo>
                <a:cubicBezTo>
                  <a:pt x="49" y="47"/>
                  <a:pt x="49" y="47"/>
                  <a:pt x="49" y="47"/>
                </a:cubicBezTo>
                <a:cubicBezTo>
                  <a:pt x="62" y="69"/>
                  <a:pt x="62" y="69"/>
                  <a:pt x="62" y="69"/>
                </a:cubicBezTo>
                <a:cubicBezTo>
                  <a:pt x="76" y="47"/>
                  <a:pt x="76" y="47"/>
                  <a:pt x="76" y="47"/>
                </a:cubicBezTo>
                <a:cubicBezTo>
                  <a:pt x="94" y="47"/>
                  <a:pt x="94" y="47"/>
                  <a:pt x="94" y="47"/>
                </a:cubicBezTo>
                <a:cubicBezTo>
                  <a:pt x="103" y="47"/>
                  <a:pt x="110" y="52"/>
                  <a:pt x="113" y="60"/>
                </a:cubicBezTo>
                <a:cubicBezTo>
                  <a:pt x="113" y="61"/>
                  <a:pt x="113" y="61"/>
                  <a:pt x="113" y="61"/>
                </a:cubicBezTo>
                <a:cubicBezTo>
                  <a:pt x="114" y="67"/>
                  <a:pt x="114" y="67"/>
                  <a:pt x="114" y="67"/>
                </a:cubicBezTo>
                <a:cubicBezTo>
                  <a:pt x="105" y="69"/>
                  <a:pt x="97" y="73"/>
                  <a:pt x="91" y="80"/>
                </a:cubicBezTo>
                <a:cubicBezTo>
                  <a:pt x="90" y="80"/>
                  <a:pt x="90" y="80"/>
                  <a:pt x="90" y="80"/>
                </a:cubicBezTo>
                <a:cubicBezTo>
                  <a:pt x="90" y="81"/>
                  <a:pt x="90" y="81"/>
                  <a:pt x="90" y="81"/>
                </a:cubicBezTo>
                <a:cubicBezTo>
                  <a:pt x="83" y="88"/>
                  <a:pt x="79" y="99"/>
                  <a:pt x="79" y="110"/>
                </a:cubicBezTo>
                <a:cubicBezTo>
                  <a:pt x="79" y="120"/>
                  <a:pt x="82" y="129"/>
                  <a:pt x="87" y="137"/>
                </a:cubicBezTo>
                <a:cubicBezTo>
                  <a:pt x="77" y="137"/>
                  <a:pt x="77" y="137"/>
                  <a:pt x="77" y="137"/>
                </a:cubicBezTo>
                <a:cubicBezTo>
                  <a:pt x="58" y="137"/>
                  <a:pt x="41" y="148"/>
                  <a:pt x="36" y="165"/>
                </a:cubicBezTo>
                <a:cubicBezTo>
                  <a:pt x="36" y="166"/>
                  <a:pt x="35" y="167"/>
                  <a:pt x="35" y="169"/>
                </a:cubicBezTo>
                <a:close/>
                <a:moveTo>
                  <a:pt x="62" y="0"/>
                </a:moveTo>
                <a:cubicBezTo>
                  <a:pt x="74" y="0"/>
                  <a:pt x="83" y="9"/>
                  <a:pt x="83" y="20"/>
                </a:cubicBezTo>
                <a:cubicBezTo>
                  <a:pt x="83" y="31"/>
                  <a:pt x="74" y="40"/>
                  <a:pt x="62" y="40"/>
                </a:cubicBezTo>
                <a:cubicBezTo>
                  <a:pt x="51" y="40"/>
                  <a:pt x="42" y="31"/>
                  <a:pt x="42" y="20"/>
                </a:cubicBezTo>
                <a:cubicBezTo>
                  <a:pt x="42" y="9"/>
                  <a:pt x="51" y="0"/>
                  <a:pt x="62" y="0"/>
                </a:cubicBezTo>
                <a:close/>
                <a:moveTo>
                  <a:pt x="122" y="79"/>
                </a:moveTo>
                <a:cubicBezTo>
                  <a:pt x="140" y="79"/>
                  <a:pt x="154" y="93"/>
                  <a:pt x="154" y="110"/>
                </a:cubicBezTo>
                <a:cubicBezTo>
                  <a:pt x="154" y="127"/>
                  <a:pt x="140" y="141"/>
                  <a:pt x="122" y="141"/>
                </a:cubicBezTo>
                <a:cubicBezTo>
                  <a:pt x="105" y="141"/>
                  <a:pt x="91" y="127"/>
                  <a:pt x="91" y="110"/>
                </a:cubicBezTo>
                <a:cubicBezTo>
                  <a:pt x="91" y="93"/>
                  <a:pt x="105" y="79"/>
                  <a:pt x="122" y="79"/>
                </a:cubicBezTo>
                <a:close/>
                <a:moveTo>
                  <a:pt x="182" y="0"/>
                </a:moveTo>
                <a:cubicBezTo>
                  <a:pt x="193" y="0"/>
                  <a:pt x="201" y="9"/>
                  <a:pt x="201" y="20"/>
                </a:cubicBezTo>
                <a:cubicBezTo>
                  <a:pt x="201" y="31"/>
                  <a:pt x="193" y="40"/>
                  <a:pt x="182" y="40"/>
                </a:cubicBezTo>
                <a:cubicBezTo>
                  <a:pt x="171" y="40"/>
                  <a:pt x="162" y="31"/>
                  <a:pt x="162" y="20"/>
                </a:cubicBezTo>
                <a:cubicBezTo>
                  <a:pt x="162" y="9"/>
                  <a:pt x="171" y="0"/>
                  <a:pt x="182" y="0"/>
                </a:cubicBezTo>
                <a:close/>
              </a:path>
            </a:pathLst>
          </a:custGeom>
          <a:solidFill>
            <a:srgbClr val="003C54"/>
          </a:solidFill>
          <a:ln w="9525">
            <a:noFill/>
            <a:round/>
            <a:headEnd/>
            <a:tailEnd/>
          </a:ln>
        </p:spPr>
        <p:txBody>
          <a:bodyPr vert="horz" wrap="square" lIns="100817" tIns="50408" rIns="100817" bIns="50408" numCol="1" anchor="t" anchorCtr="0" compatLnSpc="1">
            <a:prstTxWarp prst="textNoShape">
              <a:avLst/>
            </a:prstTxWarp>
          </a:bodyPr>
          <a:lstStyle/>
          <a:p>
            <a:endParaRPr lang="en-US" sz="2205">
              <a:latin typeface="Arial" panose="020B0604020202020204" pitchFamily="34" charset="0"/>
              <a:cs typeface="Arial" panose="020B0604020202020204" pitchFamily="34" charset="0"/>
              <a:sym typeface="Arial" panose="020B0604020202020204" pitchFamily="34" charset="0"/>
            </a:endParaRPr>
          </a:p>
        </p:txBody>
      </p:sp>
      <p:sp>
        <p:nvSpPr>
          <p:cNvPr id="36" name="TextBox 35">
            <a:extLst>
              <a:ext uri="{FF2B5EF4-FFF2-40B4-BE49-F238E27FC236}">
                <a16:creationId xmlns:a16="http://schemas.microsoft.com/office/drawing/2014/main" id="{160B4CDA-FDAB-4E3C-BAE9-D43E51CAE512}"/>
              </a:ext>
            </a:extLst>
          </p:cNvPr>
          <p:cNvSpPr txBox="1"/>
          <p:nvPr/>
        </p:nvSpPr>
        <p:spPr>
          <a:xfrm>
            <a:off x="8439683" y="2385545"/>
            <a:ext cx="874236" cy="176983"/>
          </a:xfrm>
          <a:prstGeom prst="rect">
            <a:avLst/>
          </a:prstGeom>
          <a:solidFill>
            <a:schemeClr val="bg1"/>
          </a:solidFill>
        </p:spPr>
        <p:txBody>
          <a:bodyPr wrap="square" lIns="0" tIns="0" rIns="0" bIns="0" rtlCol="0">
            <a:noAutofit/>
          </a:bodyPr>
          <a:lstStyle/>
          <a:p>
            <a:pPr defTabSz="456758" fontAlgn="base">
              <a:spcBef>
                <a:spcPts val="1200"/>
              </a:spcBef>
            </a:pPr>
            <a:r>
              <a:rPr lang="en-US" sz="1200" dirty="0">
                <a:solidFill>
                  <a:srgbClr val="064E69"/>
                </a:solidFill>
                <a:cs typeface="Open Sans Light"/>
              </a:rPr>
              <a:t>Pharmacists</a:t>
            </a:r>
          </a:p>
        </p:txBody>
      </p:sp>
      <p:grpSp>
        <p:nvGrpSpPr>
          <p:cNvPr id="2" name="Group 1">
            <a:extLst>
              <a:ext uri="{FF2B5EF4-FFF2-40B4-BE49-F238E27FC236}">
                <a16:creationId xmlns:a16="http://schemas.microsoft.com/office/drawing/2014/main" id="{A962750C-650B-417D-92B4-F4889B8F0D18}"/>
              </a:ext>
            </a:extLst>
          </p:cNvPr>
          <p:cNvGrpSpPr/>
          <p:nvPr/>
        </p:nvGrpSpPr>
        <p:grpSpPr>
          <a:xfrm>
            <a:off x="6717022" y="2061082"/>
            <a:ext cx="754251" cy="510900"/>
            <a:chOff x="6750335" y="1994504"/>
            <a:chExt cx="754251" cy="510900"/>
          </a:xfrm>
        </p:grpSpPr>
        <p:sp>
          <p:nvSpPr>
            <p:cNvPr id="37" name="Freeform 24">
              <a:extLst>
                <a:ext uri="{FF2B5EF4-FFF2-40B4-BE49-F238E27FC236}">
                  <a16:creationId xmlns:a16="http://schemas.microsoft.com/office/drawing/2014/main" id="{290C44BB-9E97-4062-8740-75BE0B141966}"/>
                </a:ext>
              </a:extLst>
            </p:cNvPr>
            <p:cNvSpPr>
              <a:spLocks noEditPoints="1"/>
            </p:cNvSpPr>
            <p:nvPr/>
          </p:nvSpPr>
          <p:spPr bwMode="auto">
            <a:xfrm>
              <a:off x="6899727" y="1994504"/>
              <a:ext cx="448797" cy="294576"/>
            </a:xfrm>
            <a:custGeom>
              <a:avLst/>
              <a:gdLst/>
              <a:ahLst/>
              <a:cxnLst>
                <a:cxn ang="0">
                  <a:pos x="231" y="141"/>
                </a:cxn>
                <a:cxn ang="0">
                  <a:pos x="206" y="82"/>
                </a:cxn>
                <a:cxn ang="0">
                  <a:pos x="217" y="156"/>
                </a:cxn>
                <a:cxn ang="0">
                  <a:pos x="210" y="168"/>
                </a:cxn>
                <a:cxn ang="0">
                  <a:pos x="208" y="165"/>
                </a:cxn>
                <a:cxn ang="0">
                  <a:pos x="157" y="137"/>
                </a:cxn>
                <a:cxn ang="0">
                  <a:pos x="141" y="71"/>
                </a:cxn>
                <a:cxn ang="0">
                  <a:pos x="144" y="62"/>
                </a:cxn>
                <a:cxn ang="0">
                  <a:pos x="201" y="48"/>
                </a:cxn>
                <a:cxn ang="0">
                  <a:pos x="219" y="62"/>
                </a:cxn>
                <a:cxn ang="0">
                  <a:pos x="234" y="141"/>
                </a:cxn>
                <a:cxn ang="0">
                  <a:pos x="170" y="198"/>
                </a:cxn>
                <a:cxn ang="0">
                  <a:pos x="164" y="242"/>
                </a:cxn>
                <a:cxn ang="0">
                  <a:pos x="81" y="242"/>
                </a:cxn>
                <a:cxn ang="0">
                  <a:pos x="75" y="198"/>
                </a:cxn>
                <a:cxn ang="0">
                  <a:pos x="40" y="219"/>
                </a:cxn>
                <a:cxn ang="0">
                  <a:pos x="48" y="169"/>
                </a:cxn>
                <a:cxn ang="0">
                  <a:pos x="104" y="149"/>
                </a:cxn>
                <a:cxn ang="0">
                  <a:pos x="141" y="149"/>
                </a:cxn>
                <a:cxn ang="0">
                  <a:pos x="196" y="169"/>
                </a:cxn>
                <a:cxn ang="0">
                  <a:pos x="204" y="219"/>
                </a:cxn>
                <a:cxn ang="0">
                  <a:pos x="35" y="169"/>
                </a:cxn>
                <a:cxn ang="0">
                  <a:pos x="36" y="80"/>
                </a:cxn>
                <a:cxn ang="0">
                  <a:pos x="21" y="131"/>
                </a:cxn>
                <a:cxn ang="0">
                  <a:pos x="9" y="140"/>
                </a:cxn>
                <a:cxn ang="0">
                  <a:pos x="12" y="61"/>
                </a:cxn>
                <a:cxn ang="0">
                  <a:pos x="31" y="47"/>
                </a:cxn>
                <a:cxn ang="0">
                  <a:pos x="62" y="69"/>
                </a:cxn>
                <a:cxn ang="0">
                  <a:pos x="94" y="47"/>
                </a:cxn>
                <a:cxn ang="0">
                  <a:pos x="113" y="61"/>
                </a:cxn>
                <a:cxn ang="0">
                  <a:pos x="91" y="80"/>
                </a:cxn>
                <a:cxn ang="0">
                  <a:pos x="90" y="81"/>
                </a:cxn>
                <a:cxn ang="0">
                  <a:pos x="87" y="137"/>
                </a:cxn>
                <a:cxn ang="0">
                  <a:pos x="36" y="165"/>
                </a:cxn>
                <a:cxn ang="0">
                  <a:pos x="62" y="0"/>
                </a:cxn>
                <a:cxn ang="0">
                  <a:pos x="62" y="40"/>
                </a:cxn>
                <a:cxn ang="0">
                  <a:pos x="62" y="0"/>
                </a:cxn>
                <a:cxn ang="0">
                  <a:pos x="154" y="110"/>
                </a:cxn>
                <a:cxn ang="0">
                  <a:pos x="91" y="110"/>
                </a:cxn>
                <a:cxn ang="0">
                  <a:pos x="182" y="0"/>
                </a:cxn>
                <a:cxn ang="0">
                  <a:pos x="182" y="40"/>
                </a:cxn>
                <a:cxn ang="0">
                  <a:pos x="182" y="0"/>
                </a:cxn>
              </a:cxnLst>
              <a:rect l="0" t="0" r="r" b="b"/>
              <a:pathLst>
                <a:path w="241" h="248">
                  <a:moveTo>
                    <a:pt x="234" y="141"/>
                  </a:moveTo>
                  <a:cubicBezTo>
                    <a:pt x="233" y="141"/>
                    <a:pt x="232" y="141"/>
                    <a:pt x="231" y="141"/>
                  </a:cubicBezTo>
                  <a:cubicBezTo>
                    <a:pt x="227" y="141"/>
                    <a:pt x="223" y="139"/>
                    <a:pt x="222" y="134"/>
                  </a:cubicBezTo>
                  <a:cubicBezTo>
                    <a:pt x="206" y="82"/>
                    <a:pt x="206" y="82"/>
                    <a:pt x="206" y="82"/>
                  </a:cubicBezTo>
                  <a:cubicBezTo>
                    <a:pt x="198" y="82"/>
                    <a:pt x="198" y="82"/>
                    <a:pt x="198" y="82"/>
                  </a:cubicBezTo>
                  <a:cubicBezTo>
                    <a:pt x="217" y="156"/>
                    <a:pt x="217" y="156"/>
                    <a:pt x="217" y="156"/>
                  </a:cubicBezTo>
                  <a:cubicBezTo>
                    <a:pt x="218" y="157"/>
                    <a:pt x="218" y="158"/>
                    <a:pt x="218" y="160"/>
                  </a:cubicBezTo>
                  <a:cubicBezTo>
                    <a:pt x="218" y="164"/>
                    <a:pt x="214" y="168"/>
                    <a:pt x="210" y="168"/>
                  </a:cubicBezTo>
                  <a:cubicBezTo>
                    <a:pt x="209" y="168"/>
                    <a:pt x="209" y="168"/>
                    <a:pt x="209" y="168"/>
                  </a:cubicBezTo>
                  <a:cubicBezTo>
                    <a:pt x="208" y="167"/>
                    <a:pt x="208" y="166"/>
                    <a:pt x="208" y="165"/>
                  </a:cubicBezTo>
                  <a:cubicBezTo>
                    <a:pt x="203" y="148"/>
                    <a:pt x="186" y="137"/>
                    <a:pt x="168" y="137"/>
                  </a:cubicBezTo>
                  <a:cubicBezTo>
                    <a:pt x="157" y="137"/>
                    <a:pt x="157" y="137"/>
                    <a:pt x="157" y="137"/>
                  </a:cubicBezTo>
                  <a:cubicBezTo>
                    <a:pt x="163" y="129"/>
                    <a:pt x="166" y="120"/>
                    <a:pt x="166" y="110"/>
                  </a:cubicBezTo>
                  <a:cubicBezTo>
                    <a:pt x="166" y="93"/>
                    <a:pt x="156" y="78"/>
                    <a:pt x="141" y="71"/>
                  </a:cubicBezTo>
                  <a:cubicBezTo>
                    <a:pt x="144" y="62"/>
                    <a:pt x="144" y="62"/>
                    <a:pt x="144" y="62"/>
                  </a:cubicBezTo>
                  <a:cubicBezTo>
                    <a:pt x="144" y="62"/>
                    <a:pt x="144" y="62"/>
                    <a:pt x="144" y="62"/>
                  </a:cubicBezTo>
                  <a:cubicBezTo>
                    <a:pt x="147" y="53"/>
                    <a:pt x="154" y="48"/>
                    <a:pt x="162" y="48"/>
                  </a:cubicBezTo>
                  <a:cubicBezTo>
                    <a:pt x="201" y="48"/>
                    <a:pt x="201" y="48"/>
                    <a:pt x="201" y="48"/>
                  </a:cubicBezTo>
                  <a:cubicBezTo>
                    <a:pt x="209" y="48"/>
                    <a:pt x="216" y="53"/>
                    <a:pt x="219" y="62"/>
                  </a:cubicBezTo>
                  <a:cubicBezTo>
                    <a:pt x="219" y="62"/>
                    <a:pt x="219" y="62"/>
                    <a:pt x="219" y="62"/>
                  </a:cubicBezTo>
                  <a:cubicBezTo>
                    <a:pt x="240" y="129"/>
                    <a:pt x="240" y="129"/>
                    <a:pt x="240" y="129"/>
                  </a:cubicBezTo>
                  <a:cubicBezTo>
                    <a:pt x="241" y="134"/>
                    <a:pt x="238" y="139"/>
                    <a:pt x="234" y="141"/>
                  </a:cubicBezTo>
                  <a:close/>
                  <a:moveTo>
                    <a:pt x="176" y="237"/>
                  </a:moveTo>
                  <a:cubicBezTo>
                    <a:pt x="170" y="198"/>
                    <a:pt x="170" y="198"/>
                    <a:pt x="170" y="198"/>
                  </a:cubicBezTo>
                  <a:cubicBezTo>
                    <a:pt x="162" y="198"/>
                    <a:pt x="162" y="198"/>
                    <a:pt x="162" y="198"/>
                  </a:cubicBezTo>
                  <a:cubicBezTo>
                    <a:pt x="164" y="242"/>
                    <a:pt x="164" y="242"/>
                    <a:pt x="164" y="242"/>
                  </a:cubicBezTo>
                  <a:cubicBezTo>
                    <a:pt x="151" y="246"/>
                    <a:pt x="137" y="248"/>
                    <a:pt x="122" y="248"/>
                  </a:cubicBezTo>
                  <a:cubicBezTo>
                    <a:pt x="108" y="248"/>
                    <a:pt x="94" y="246"/>
                    <a:pt x="81" y="242"/>
                  </a:cubicBezTo>
                  <a:cubicBezTo>
                    <a:pt x="83" y="198"/>
                    <a:pt x="83" y="198"/>
                    <a:pt x="83" y="198"/>
                  </a:cubicBezTo>
                  <a:cubicBezTo>
                    <a:pt x="75" y="198"/>
                    <a:pt x="75" y="198"/>
                    <a:pt x="75" y="198"/>
                  </a:cubicBezTo>
                  <a:cubicBezTo>
                    <a:pt x="67" y="237"/>
                    <a:pt x="67" y="237"/>
                    <a:pt x="67" y="237"/>
                  </a:cubicBezTo>
                  <a:cubicBezTo>
                    <a:pt x="57" y="232"/>
                    <a:pt x="48" y="226"/>
                    <a:pt x="40" y="219"/>
                  </a:cubicBezTo>
                  <a:cubicBezTo>
                    <a:pt x="48" y="171"/>
                    <a:pt x="48" y="171"/>
                    <a:pt x="48" y="171"/>
                  </a:cubicBezTo>
                  <a:cubicBezTo>
                    <a:pt x="48" y="170"/>
                    <a:pt x="48" y="169"/>
                    <a:pt x="48" y="169"/>
                  </a:cubicBezTo>
                  <a:cubicBezTo>
                    <a:pt x="52" y="157"/>
                    <a:pt x="63" y="149"/>
                    <a:pt x="77" y="149"/>
                  </a:cubicBezTo>
                  <a:cubicBezTo>
                    <a:pt x="104" y="149"/>
                    <a:pt x="104" y="149"/>
                    <a:pt x="104" y="149"/>
                  </a:cubicBezTo>
                  <a:cubicBezTo>
                    <a:pt x="123" y="182"/>
                    <a:pt x="123" y="182"/>
                    <a:pt x="123" y="182"/>
                  </a:cubicBezTo>
                  <a:cubicBezTo>
                    <a:pt x="141" y="149"/>
                    <a:pt x="141" y="149"/>
                    <a:pt x="141" y="149"/>
                  </a:cubicBezTo>
                  <a:cubicBezTo>
                    <a:pt x="168" y="149"/>
                    <a:pt x="168" y="149"/>
                    <a:pt x="168" y="149"/>
                  </a:cubicBezTo>
                  <a:cubicBezTo>
                    <a:pt x="181" y="149"/>
                    <a:pt x="192" y="157"/>
                    <a:pt x="196" y="169"/>
                  </a:cubicBezTo>
                  <a:cubicBezTo>
                    <a:pt x="196" y="169"/>
                    <a:pt x="196" y="170"/>
                    <a:pt x="196" y="171"/>
                  </a:cubicBezTo>
                  <a:cubicBezTo>
                    <a:pt x="204" y="219"/>
                    <a:pt x="204" y="219"/>
                    <a:pt x="204" y="219"/>
                  </a:cubicBezTo>
                  <a:cubicBezTo>
                    <a:pt x="196" y="226"/>
                    <a:pt x="186" y="232"/>
                    <a:pt x="176" y="237"/>
                  </a:cubicBezTo>
                  <a:close/>
                  <a:moveTo>
                    <a:pt x="35" y="169"/>
                  </a:moveTo>
                  <a:cubicBezTo>
                    <a:pt x="34" y="174"/>
                    <a:pt x="34" y="174"/>
                    <a:pt x="34" y="174"/>
                  </a:cubicBezTo>
                  <a:cubicBezTo>
                    <a:pt x="36" y="80"/>
                    <a:pt x="36" y="80"/>
                    <a:pt x="36" y="80"/>
                  </a:cubicBezTo>
                  <a:cubicBezTo>
                    <a:pt x="30" y="80"/>
                    <a:pt x="30" y="80"/>
                    <a:pt x="30" y="80"/>
                  </a:cubicBezTo>
                  <a:cubicBezTo>
                    <a:pt x="21" y="131"/>
                    <a:pt x="21" y="131"/>
                    <a:pt x="21" y="131"/>
                  </a:cubicBezTo>
                  <a:cubicBezTo>
                    <a:pt x="20" y="136"/>
                    <a:pt x="16" y="140"/>
                    <a:pt x="11" y="140"/>
                  </a:cubicBezTo>
                  <a:cubicBezTo>
                    <a:pt x="11" y="140"/>
                    <a:pt x="10" y="140"/>
                    <a:pt x="9" y="140"/>
                  </a:cubicBezTo>
                  <a:cubicBezTo>
                    <a:pt x="4" y="139"/>
                    <a:pt x="0" y="133"/>
                    <a:pt x="1" y="128"/>
                  </a:cubicBezTo>
                  <a:cubicBezTo>
                    <a:pt x="12" y="61"/>
                    <a:pt x="12" y="61"/>
                    <a:pt x="12" y="61"/>
                  </a:cubicBezTo>
                  <a:cubicBezTo>
                    <a:pt x="12" y="60"/>
                    <a:pt x="12" y="60"/>
                    <a:pt x="12" y="60"/>
                  </a:cubicBezTo>
                  <a:cubicBezTo>
                    <a:pt x="15" y="52"/>
                    <a:pt x="23" y="47"/>
                    <a:pt x="31" y="47"/>
                  </a:cubicBezTo>
                  <a:cubicBezTo>
                    <a:pt x="49" y="47"/>
                    <a:pt x="49" y="47"/>
                    <a:pt x="49" y="47"/>
                  </a:cubicBezTo>
                  <a:cubicBezTo>
                    <a:pt x="62" y="69"/>
                    <a:pt x="62" y="69"/>
                    <a:pt x="62" y="69"/>
                  </a:cubicBezTo>
                  <a:cubicBezTo>
                    <a:pt x="76" y="47"/>
                    <a:pt x="76" y="47"/>
                    <a:pt x="76" y="47"/>
                  </a:cubicBezTo>
                  <a:cubicBezTo>
                    <a:pt x="94" y="47"/>
                    <a:pt x="94" y="47"/>
                    <a:pt x="94" y="47"/>
                  </a:cubicBezTo>
                  <a:cubicBezTo>
                    <a:pt x="103" y="47"/>
                    <a:pt x="110" y="52"/>
                    <a:pt x="113" y="60"/>
                  </a:cubicBezTo>
                  <a:cubicBezTo>
                    <a:pt x="113" y="61"/>
                    <a:pt x="113" y="61"/>
                    <a:pt x="113" y="61"/>
                  </a:cubicBezTo>
                  <a:cubicBezTo>
                    <a:pt x="114" y="67"/>
                    <a:pt x="114" y="67"/>
                    <a:pt x="114" y="67"/>
                  </a:cubicBezTo>
                  <a:cubicBezTo>
                    <a:pt x="105" y="69"/>
                    <a:pt x="97" y="73"/>
                    <a:pt x="91" y="80"/>
                  </a:cubicBezTo>
                  <a:cubicBezTo>
                    <a:pt x="90" y="80"/>
                    <a:pt x="90" y="80"/>
                    <a:pt x="90" y="80"/>
                  </a:cubicBezTo>
                  <a:cubicBezTo>
                    <a:pt x="90" y="81"/>
                    <a:pt x="90" y="81"/>
                    <a:pt x="90" y="81"/>
                  </a:cubicBezTo>
                  <a:cubicBezTo>
                    <a:pt x="83" y="88"/>
                    <a:pt x="79" y="99"/>
                    <a:pt x="79" y="110"/>
                  </a:cubicBezTo>
                  <a:cubicBezTo>
                    <a:pt x="79" y="120"/>
                    <a:pt x="82" y="129"/>
                    <a:pt x="87" y="137"/>
                  </a:cubicBezTo>
                  <a:cubicBezTo>
                    <a:pt x="77" y="137"/>
                    <a:pt x="77" y="137"/>
                    <a:pt x="77" y="137"/>
                  </a:cubicBezTo>
                  <a:cubicBezTo>
                    <a:pt x="58" y="137"/>
                    <a:pt x="41" y="148"/>
                    <a:pt x="36" y="165"/>
                  </a:cubicBezTo>
                  <a:cubicBezTo>
                    <a:pt x="36" y="166"/>
                    <a:pt x="35" y="167"/>
                    <a:pt x="35" y="169"/>
                  </a:cubicBezTo>
                  <a:close/>
                  <a:moveTo>
                    <a:pt x="62" y="0"/>
                  </a:moveTo>
                  <a:cubicBezTo>
                    <a:pt x="74" y="0"/>
                    <a:pt x="83" y="9"/>
                    <a:pt x="83" y="20"/>
                  </a:cubicBezTo>
                  <a:cubicBezTo>
                    <a:pt x="83" y="31"/>
                    <a:pt x="74" y="40"/>
                    <a:pt x="62" y="40"/>
                  </a:cubicBezTo>
                  <a:cubicBezTo>
                    <a:pt x="51" y="40"/>
                    <a:pt x="42" y="31"/>
                    <a:pt x="42" y="20"/>
                  </a:cubicBezTo>
                  <a:cubicBezTo>
                    <a:pt x="42" y="9"/>
                    <a:pt x="51" y="0"/>
                    <a:pt x="62" y="0"/>
                  </a:cubicBezTo>
                  <a:close/>
                  <a:moveTo>
                    <a:pt x="122" y="79"/>
                  </a:moveTo>
                  <a:cubicBezTo>
                    <a:pt x="140" y="79"/>
                    <a:pt x="154" y="93"/>
                    <a:pt x="154" y="110"/>
                  </a:cubicBezTo>
                  <a:cubicBezTo>
                    <a:pt x="154" y="127"/>
                    <a:pt x="140" y="141"/>
                    <a:pt x="122" y="141"/>
                  </a:cubicBezTo>
                  <a:cubicBezTo>
                    <a:pt x="105" y="141"/>
                    <a:pt x="91" y="127"/>
                    <a:pt x="91" y="110"/>
                  </a:cubicBezTo>
                  <a:cubicBezTo>
                    <a:pt x="91" y="93"/>
                    <a:pt x="105" y="79"/>
                    <a:pt x="122" y="79"/>
                  </a:cubicBezTo>
                  <a:close/>
                  <a:moveTo>
                    <a:pt x="182" y="0"/>
                  </a:moveTo>
                  <a:cubicBezTo>
                    <a:pt x="193" y="0"/>
                    <a:pt x="201" y="9"/>
                    <a:pt x="201" y="20"/>
                  </a:cubicBezTo>
                  <a:cubicBezTo>
                    <a:pt x="201" y="31"/>
                    <a:pt x="193" y="40"/>
                    <a:pt x="182" y="40"/>
                  </a:cubicBezTo>
                  <a:cubicBezTo>
                    <a:pt x="171" y="40"/>
                    <a:pt x="162" y="31"/>
                    <a:pt x="162" y="20"/>
                  </a:cubicBezTo>
                  <a:cubicBezTo>
                    <a:pt x="162" y="9"/>
                    <a:pt x="171" y="0"/>
                    <a:pt x="182" y="0"/>
                  </a:cubicBezTo>
                  <a:close/>
                </a:path>
              </a:pathLst>
            </a:custGeom>
            <a:solidFill>
              <a:srgbClr val="003C54"/>
            </a:solidFill>
            <a:ln w="9525">
              <a:noFill/>
              <a:round/>
              <a:headEnd/>
              <a:tailEnd/>
            </a:ln>
          </p:spPr>
          <p:txBody>
            <a:bodyPr vert="horz" wrap="square" lIns="100817" tIns="50408" rIns="100817" bIns="50408" numCol="1" anchor="t" anchorCtr="0" compatLnSpc="1">
              <a:prstTxWarp prst="textNoShape">
                <a:avLst/>
              </a:prstTxWarp>
            </a:bodyPr>
            <a:lstStyle/>
            <a:p>
              <a:endParaRPr lang="en-US" sz="2205">
                <a:latin typeface="Arial" panose="020B0604020202020204" pitchFamily="34" charset="0"/>
                <a:cs typeface="Arial" panose="020B0604020202020204" pitchFamily="34" charset="0"/>
                <a:sym typeface="Arial" panose="020B0604020202020204" pitchFamily="34" charset="0"/>
              </a:endParaRPr>
            </a:p>
          </p:txBody>
        </p:sp>
        <p:sp>
          <p:nvSpPr>
            <p:cNvPr id="38" name="TextBox 37">
              <a:extLst>
                <a:ext uri="{FF2B5EF4-FFF2-40B4-BE49-F238E27FC236}">
                  <a16:creationId xmlns:a16="http://schemas.microsoft.com/office/drawing/2014/main" id="{E43C6C18-7E41-4E5C-A2B4-F1E8CA88CF06}"/>
                </a:ext>
              </a:extLst>
            </p:cNvPr>
            <p:cNvSpPr txBox="1"/>
            <p:nvPr/>
          </p:nvSpPr>
          <p:spPr>
            <a:xfrm>
              <a:off x="6750335" y="2312937"/>
              <a:ext cx="754251" cy="192467"/>
            </a:xfrm>
            <a:prstGeom prst="rect">
              <a:avLst/>
            </a:prstGeom>
            <a:solidFill>
              <a:schemeClr val="bg1"/>
            </a:solidFill>
          </p:spPr>
          <p:txBody>
            <a:bodyPr wrap="square" lIns="0" tIns="0" rIns="0" bIns="0" rtlCol="0">
              <a:noAutofit/>
            </a:bodyPr>
            <a:lstStyle/>
            <a:p>
              <a:pPr algn="ctr" defTabSz="456758" fontAlgn="base">
                <a:spcBef>
                  <a:spcPts val="1200"/>
                </a:spcBef>
              </a:pPr>
              <a:r>
                <a:rPr lang="en-US" sz="1200" dirty="0">
                  <a:solidFill>
                    <a:srgbClr val="064E69"/>
                  </a:solidFill>
                  <a:cs typeface="Open Sans Light"/>
                </a:rPr>
                <a:t>CNP/PA</a:t>
              </a:r>
            </a:p>
          </p:txBody>
        </p:sp>
      </p:grpSp>
      <p:sp>
        <p:nvSpPr>
          <p:cNvPr id="43" name="Rectangle: Rounded Corners 42">
            <a:extLst>
              <a:ext uri="{FF2B5EF4-FFF2-40B4-BE49-F238E27FC236}">
                <a16:creationId xmlns:a16="http://schemas.microsoft.com/office/drawing/2014/main" id="{3BC18459-C84E-4CED-A291-FA2B3CD6208B}"/>
              </a:ext>
            </a:extLst>
          </p:cNvPr>
          <p:cNvSpPr/>
          <p:nvPr/>
        </p:nvSpPr>
        <p:spPr>
          <a:xfrm>
            <a:off x="4062753" y="2569074"/>
            <a:ext cx="1848832" cy="707572"/>
          </a:xfrm>
          <a:prstGeom prst="round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cs typeface="Open Sans Bold"/>
              </a:rPr>
              <a:t>Utilization  Management</a:t>
            </a:r>
          </a:p>
        </p:txBody>
      </p:sp>
      <p:sp>
        <p:nvSpPr>
          <p:cNvPr id="44" name="Rectangle: Rounded Corners 43">
            <a:extLst>
              <a:ext uri="{FF2B5EF4-FFF2-40B4-BE49-F238E27FC236}">
                <a16:creationId xmlns:a16="http://schemas.microsoft.com/office/drawing/2014/main" id="{6000436A-6AEE-4CDE-98A7-DBF6E2503B46}"/>
              </a:ext>
            </a:extLst>
          </p:cNvPr>
          <p:cNvSpPr/>
          <p:nvPr/>
        </p:nvSpPr>
        <p:spPr>
          <a:xfrm>
            <a:off x="8013384" y="2569074"/>
            <a:ext cx="1629161" cy="707572"/>
          </a:xfrm>
          <a:prstGeom prst="round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cs typeface="Open Sans Bold"/>
              </a:rPr>
              <a:t>MTM</a:t>
            </a:r>
          </a:p>
        </p:txBody>
      </p:sp>
      <p:grpSp>
        <p:nvGrpSpPr>
          <p:cNvPr id="59" name="Group 58">
            <a:extLst>
              <a:ext uri="{FF2B5EF4-FFF2-40B4-BE49-F238E27FC236}">
                <a16:creationId xmlns:a16="http://schemas.microsoft.com/office/drawing/2014/main" id="{8485C819-1CA4-444E-A81C-FFDC7AAD23A8}"/>
              </a:ext>
            </a:extLst>
          </p:cNvPr>
          <p:cNvGrpSpPr/>
          <p:nvPr/>
        </p:nvGrpSpPr>
        <p:grpSpPr>
          <a:xfrm>
            <a:off x="4429603" y="2087567"/>
            <a:ext cx="600005" cy="457929"/>
            <a:chOff x="4038475" y="5385584"/>
            <a:chExt cx="600005" cy="457929"/>
          </a:xfrm>
        </p:grpSpPr>
        <p:sp>
          <p:nvSpPr>
            <p:cNvPr id="45" name="Freeform 24">
              <a:extLst>
                <a:ext uri="{FF2B5EF4-FFF2-40B4-BE49-F238E27FC236}">
                  <a16:creationId xmlns:a16="http://schemas.microsoft.com/office/drawing/2014/main" id="{CD816E2F-2327-40B6-833F-97AED8AFBB7D}"/>
                </a:ext>
              </a:extLst>
            </p:cNvPr>
            <p:cNvSpPr>
              <a:spLocks noEditPoints="1"/>
            </p:cNvSpPr>
            <p:nvPr/>
          </p:nvSpPr>
          <p:spPr bwMode="auto">
            <a:xfrm>
              <a:off x="4052530" y="5385584"/>
              <a:ext cx="448797" cy="294576"/>
            </a:xfrm>
            <a:custGeom>
              <a:avLst/>
              <a:gdLst/>
              <a:ahLst/>
              <a:cxnLst>
                <a:cxn ang="0">
                  <a:pos x="231" y="141"/>
                </a:cxn>
                <a:cxn ang="0">
                  <a:pos x="206" y="82"/>
                </a:cxn>
                <a:cxn ang="0">
                  <a:pos x="217" y="156"/>
                </a:cxn>
                <a:cxn ang="0">
                  <a:pos x="210" y="168"/>
                </a:cxn>
                <a:cxn ang="0">
                  <a:pos x="208" y="165"/>
                </a:cxn>
                <a:cxn ang="0">
                  <a:pos x="157" y="137"/>
                </a:cxn>
                <a:cxn ang="0">
                  <a:pos x="141" y="71"/>
                </a:cxn>
                <a:cxn ang="0">
                  <a:pos x="144" y="62"/>
                </a:cxn>
                <a:cxn ang="0">
                  <a:pos x="201" y="48"/>
                </a:cxn>
                <a:cxn ang="0">
                  <a:pos x="219" y="62"/>
                </a:cxn>
                <a:cxn ang="0">
                  <a:pos x="234" y="141"/>
                </a:cxn>
                <a:cxn ang="0">
                  <a:pos x="170" y="198"/>
                </a:cxn>
                <a:cxn ang="0">
                  <a:pos x="164" y="242"/>
                </a:cxn>
                <a:cxn ang="0">
                  <a:pos x="81" y="242"/>
                </a:cxn>
                <a:cxn ang="0">
                  <a:pos x="75" y="198"/>
                </a:cxn>
                <a:cxn ang="0">
                  <a:pos x="40" y="219"/>
                </a:cxn>
                <a:cxn ang="0">
                  <a:pos x="48" y="169"/>
                </a:cxn>
                <a:cxn ang="0">
                  <a:pos x="104" y="149"/>
                </a:cxn>
                <a:cxn ang="0">
                  <a:pos x="141" y="149"/>
                </a:cxn>
                <a:cxn ang="0">
                  <a:pos x="196" y="169"/>
                </a:cxn>
                <a:cxn ang="0">
                  <a:pos x="204" y="219"/>
                </a:cxn>
                <a:cxn ang="0">
                  <a:pos x="35" y="169"/>
                </a:cxn>
                <a:cxn ang="0">
                  <a:pos x="36" y="80"/>
                </a:cxn>
                <a:cxn ang="0">
                  <a:pos x="21" y="131"/>
                </a:cxn>
                <a:cxn ang="0">
                  <a:pos x="9" y="140"/>
                </a:cxn>
                <a:cxn ang="0">
                  <a:pos x="12" y="61"/>
                </a:cxn>
                <a:cxn ang="0">
                  <a:pos x="31" y="47"/>
                </a:cxn>
                <a:cxn ang="0">
                  <a:pos x="62" y="69"/>
                </a:cxn>
                <a:cxn ang="0">
                  <a:pos x="94" y="47"/>
                </a:cxn>
                <a:cxn ang="0">
                  <a:pos x="113" y="61"/>
                </a:cxn>
                <a:cxn ang="0">
                  <a:pos x="91" y="80"/>
                </a:cxn>
                <a:cxn ang="0">
                  <a:pos x="90" y="81"/>
                </a:cxn>
                <a:cxn ang="0">
                  <a:pos x="87" y="137"/>
                </a:cxn>
                <a:cxn ang="0">
                  <a:pos x="36" y="165"/>
                </a:cxn>
                <a:cxn ang="0">
                  <a:pos x="62" y="0"/>
                </a:cxn>
                <a:cxn ang="0">
                  <a:pos x="62" y="40"/>
                </a:cxn>
                <a:cxn ang="0">
                  <a:pos x="62" y="0"/>
                </a:cxn>
                <a:cxn ang="0">
                  <a:pos x="154" y="110"/>
                </a:cxn>
                <a:cxn ang="0">
                  <a:pos x="91" y="110"/>
                </a:cxn>
                <a:cxn ang="0">
                  <a:pos x="182" y="0"/>
                </a:cxn>
                <a:cxn ang="0">
                  <a:pos x="182" y="40"/>
                </a:cxn>
                <a:cxn ang="0">
                  <a:pos x="182" y="0"/>
                </a:cxn>
              </a:cxnLst>
              <a:rect l="0" t="0" r="r" b="b"/>
              <a:pathLst>
                <a:path w="241" h="248">
                  <a:moveTo>
                    <a:pt x="234" y="141"/>
                  </a:moveTo>
                  <a:cubicBezTo>
                    <a:pt x="233" y="141"/>
                    <a:pt x="232" y="141"/>
                    <a:pt x="231" y="141"/>
                  </a:cubicBezTo>
                  <a:cubicBezTo>
                    <a:pt x="227" y="141"/>
                    <a:pt x="223" y="139"/>
                    <a:pt x="222" y="134"/>
                  </a:cubicBezTo>
                  <a:cubicBezTo>
                    <a:pt x="206" y="82"/>
                    <a:pt x="206" y="82"/>
                    <a:pt x="206" y="82"/>
                  </a:cubicBezTo>
                  <a:cubicBezTo>
                    <a:pt x="198" y="82"/>
                    <a:pt x="198" y="82"/>
                    <a:pt x="198" y="82"/>
                  </a:cubicBezTo>
                  <a:cubicBezTo>
                    <a:pt x="217" y="156"/>
                    <a:pt x="217" y="156"/>
                    <a:pt x="217" y="156"/>
                  </a:cubicBezTo>
                  <a:cubicBezTo>
                    <a:pt x="218" y="157"/>
                    <a:pt x="218" y="158"/>
                    <a:pt x="218" y="160"/>
                  </a:cubicBezTo>
                  <a:cubicBezTo>
                    <a:pt x="218" y="164"/>
                    <a:pt x="214" y="168"/>
                    <a:pt x="210" y="168"/>
                  </a:cubicBezTo>
                  <a:cubicBezTo>
                    <a:pt x="209" y="168"/>
                    <a:pt x="209" y="168"/>
                    <a:pt x="209" y="168"/>
                  </a:cubicBezTo>
                  <a:cubicBezTo>
                    <a:pt x="208" y="167"/>
                    <a:pt x="208" y="166"/>
                    <a:pt x="208" y="165"/>
                  </a:cubicBezTo>
                  <a:cubicBezTo>
                    <a:pt x="203" y="148"/>
                    <a:pt x="186" y="137"/>
                    <a:pt x="168" y="137"/>
                  </a:cubicBezTo>
                  <a:cubicBezTo>
                    <a:pt x="157" y="137"/>
                    <a:pt x="157" y="137"/>
                    <a:pt x="157" y="137"/>
                  </a:cubicBezTo>
                  <a:cubicBezTo>
                    <a:pt x="163" y="129"/>
                    <a:pt x="166" y="120"/>
                    <a:pt x="166" y="110"/>
                  </a:cubicBezTo>
                  <a:cubicBezTo>
                    <a:pt x="166" y="93"/>
                    <a:pt x="156" y="78"/>
                    <a:pt x="141" y="71"/>
                  </a:cubicBezTo>
                  <a:cubicBezTo>
                    <a:pt x="144" y="62"/>
                    <a:pt x="144" y="62"/>
                    <a:pt x="144" y="62"/>
                  </a:cubicBezTo>
                  <a:cubicBezTo>
                    <a:pt x="144" y="62"/>
                    <a:pt x="144" y="62"/>
                    <a:pt x="144" y="62"/>
                  </a:cubicBezTo>
                  <a:cubicBezTo>
                    <a:pt x="147" y="53"/>
                    <a:pt x="154" y="48"/>
                    <a:pt x="162" y="48"/>
                  </a:cubicBezTo>
                  <a:cubicBezTo>
                    <a:pt x="201" y="48"/>
                    <a:pt x="201" y="48"/>
                    <a:pt x="201" y="48"/>
                  </a:cubicBezTo>
                  <a:cubicBezTo>
                    <a:pt x="209" y="48"/>
                    <a:pt x="216" y="53"/>
                    <a:pt x="219" y="62"/>
                  </a:cubicBezTo>
                  <a:cubicBezTo>
                    <a:pt x="219" y="62"/>
                    <a:pt x="219" y="62"/>
                    <a:pt x="219" y="62"/>
                  </a:cubicBezTo>
                  <a:cubicBezTo>
                    <a:pt x="240" y="129"/>
                    <a:pt x="240" y="129"/>
                    <a:pt x="240" y="129"/>
                  </a:cubicBezTo>
                  <a:cubicBezTo>
                    <a:pt x="241" y="134"/>
                    <a:pt x="238" y="139"/>
                    <a:pt x="234" y="141"/>
                  </a:cubicBezTo>
                  <a:close/>
                  <a:moveTo>
                    <a:pt x="176" y="237"/>
                  </a:moveTo>
                  <a:cubicBezTo>
                    <a:pt x="170" y="198"/>
                    <a:pt x="170" y="198"/>
                    <a:pt x="170" y="198"/>
                  </a:cubicBezTo>
                  <a:cubicBezTo>
                    <a:pt x="162" y="198"/>
                    <a:pt x="162" y="198"/>
                    <a:pt x="162" y="198"/>
                  </a:cubicBezTo>
                  <a:cubicBezTo>
                    <a:pt x="164" y="242"/>
                    <a:pt x="164" y="242"/>
                    <a:pt x="164" y="242"/>
                  </a:cubicBezTo>
                  <a:cubicBezTo>
                    <a:pt x="151" y="246"/>
                    <a:pt x="137" y="248"/>
                    <a:pt x="122" y="248"/>
                  </a:cubicBezTo>
                  <a:cubicBezTo>
                    <a:pt x="108" y="248"/>
                    <a:pt x="94" y="246"/>
                    <a:pt x="81" y="242"/>
                  </a:cubicBezTo>
                  <a:cubicBezTo>
                    <a:pt x="83" y="198"/>
                    <a:pt x="83" y="198"/>
                    <a:pt x="83" y="198"/>
                  </a:cubicBezTo>
                  <a:cubicBezTo>
                    <a:pt x="75" y="198"/>
                    <a:pt x="75" y="198"/>
                    <a:pt x="75" y="198"/>
                  </a:cubicBezTo>
                  <a:cubicBezTo>
                    <a:pt x="67" y="237"/>
                    <a:pt x="67" y="237"/>
                    <a:pt x="67" y="237"/>
                  </a:cubicBezTo>
                  <a:cubicBezTo>
                    <a:pt x="57" y="232"/>
                    <a:pt x="48" y="226"/>
                    <a:pt x="40" y="219"/>
                  </a:cubicBezTo>
                  <a:cubicBezTo>
                    <a:pt x="48" y="171"/>
                    <a:pt x="48" y="171"/>
                    <a:pt x="48" y="171"/>
                  </a:cubicBezTo>
                  <a:cubicBezTo>
                    <a:pt x="48" y="170"/>
                    <a:pt x="48" y="169"/>
                    <a:pt x="48" y="169"/>
                  </a:cubicBezTo>
                  <a:cubicBezTo>
                    <a:pt x="52" y="157"/>
                    <a:pt x="63" y="149"/>
                    <a:pt x="77" y="149"/>
                  </a:cubicBezTo>
                  <a:cubicBezTo>
                    <a:pt x="104" y="149"/>
                    <a:pt x="104" y="149"/>
                    <a:pt x="104" y="149"/>
                  </a:cubicBezTo>
                  <a:cubicBezTo>
                    <a:pt x="123" y="182"/>
                    <a:pt x="123" y="182"/>
                    <a:pt x="123" y="182"/>
                  </a:cubicBezTo>
                  <a:cubicBezTo>
                    <a:pt x="141" y="149"/>
                    <a:pt x="141" y="149"/>
                    <a:pt x="141" y="149"/>
                  </a:cubicBezTo>
                  <a:cubicBezTo>
                    <a:pt x="168" y="149"/>
                    <a:pt x="168" y="149"/>
                    <a:pt x="168" y="149"/>
                  </a:cubicBezTo>
                  <a:cubicBezTo>
                    <a:pt x="181" y="149"/>
                    <a:pt x="192" y="157"/>
                    <a:pt x="196" y="169"/>
                  </a:cubicBezTo>
                  <a:cubicBezTo>
                    <a:pt x="196" y="169"/>
                    <a:pt x="196" y="170"/>
                    <a:pt x="196" y="171"/>
                  </a:cubicBezTo>
                  <a:cubicBezTo>
                    <a:pt x="204" y="219"/>
                    <a:pt x="204" y="219"/>
                    <a:pt x="204" y="219"/>
                  </a:cubicBezTo>
                  <a:cubicBezTo>
                    <a:pt x="196" y="226"/>
                    <a:pt x="186" y="232"/>
                    <a:pt x="176" y="237"/>
                  </a:cubicBezTo>
                  <a:close/>
                  <a:moveTo>
                    <a:pt x="35" y="169"/>
                  </a:moveTo>
                  <a:cubicBezTo>
                    <a:pt x="34" y="174"/>
                    <a:pt x="34" y="174"/>
                    <a:pt x="34" y="174"/>
                  </a:cubicBezTo>
                  <a:cubicBezTo>
                    <a:pt x="36" y="80"/>
                    <a:pt x="36" y="80"/>
                    <a:pt x="36" y="80"/>
                  </a:cubicBezTo>
                  <a:cubicBezTo>
                    <a:pt x="30" y="80"/>
                    <a:pt x="30" y="80"/>
                    <a:pt x="30" y="80"/>
                  </a:cubicBezTo>
                  <a:cubicBezTo>
                    <a:pt x="21" y="131"/>
                    <a:pt x="21" y="131"/>
                    <a:pt x="21" y="131"/>
                  </a:cubicBezTo>
                  <a:cubicBezTo>
                    <a:pt x="20" y="136"/>
                    <a:pt x="16" y="140"/>
                    <a:pt x="11" y="140"/>
                  </a:cubicBezTo>
                  <a:cubicBezTo>
                    <a:pt x="11" y="140"/>
                    <a:pt x="10" y="140"/>
                    <a:pt x="9" y="140"/>
                  </a:cubicBezTo>
                  <a:cubicBezTo>
                    <a:pt x="4" y="139"/>
                    <a:pt x="0" y="133"/>
                    <a:pt x="1" y="128"/>
                  </a:cubicBezTo>
                  <a:cubicBezTo>
                    <a:pt x="12" y="61"/>
                    <a:pt x="12" y="61"/>
                    <a:pt x="12" y="61"/>
                  </a:cubicBezTo>
                  <a:cubicBezTo>
                    <a:pt x="12" y="60"/>
                    <a:pt x="12" y="60"/>
                    <a:pt x="12" y="60"/>
                  </a:cubicBezTo>
                  <a:cubicBezTo>
                    <a:pt x="15" y="52"/>
                    <a:pt x="23" y="47"/>
                    <a:pt x="31" y="47"/>
                  </a:cubicBezTo>
                  <a:cubicBezTo>
                    <a:pt x="49" y="47"/>
                    <a:pt x="49" y="47"/>
                    <a:pt x="49" y="47"/>
                  </a:cubicBezTo>
                  <a:cubicBezTo>
                    <a:pt x="62" y="69"/>
                    <a:pt x="62" y="69"/>
                    <a:pt x="62" y="69"/>
                  </a:cubicBezTo>
                  <a:cubicBezTo>
                    <a:pt x="76" y="47"/>
                    <a:pt x="76" y="47"/>
                    <a:pt x="76" y="47"/>
                  </a:cubicBezTo>
                  <a:cubicBezTo>
                    <a:pt x="94" y="47"/>
                    <a:pt x="94" y="47"/>
                    <a:pt x="94" y="47"/>
                  </a:cubicBezTo>
                  <a:cubicBezTo>
                    <a:pt x="103" y="47"/>
                    <a:pt x="110" y="52"/>
                    <a:pt x="113" y="60"/>
                  </a:cubicBezTo>
                  <a:cubicBezTo>
                    <a:pt x="113" y="61"/>
                    <a:pt x="113" y="61"/>
                    <a:pt x="113" y="61"/>
                  </a:cubicBezTo>
                  <a:cubicBezTo>
                    <a:pt x="114" y="67"/>
                    <a:pt x="114" y="67"/>
                    <a:pt x="114" y="67"/>
                  </a:cubicBezTo>
                  <a:cubicBezTo>
                    <a:pt x="105" y="69"/>
                    <a:pt x="97" y="73"/>
                    <a:pt x="91" y="80"/>
                  </a:cubicBezTo>
                  <a:cubicBezTo>
                    <a:pt x="90" y="80"/>
                    <a:pt x="90" y="80"/>
                    <a:pt x="90" y="80"/>
                  </a:cubicBezTo>
                  <a:cubicBezTo>
                    <a:pt x="90" y="81"/>
                    <a:pt x="90" y="81"/>
                    <a:pt x="90" y="81"/>
                  </a:cubicBezTo>
                  <a:cubicBezTo>
                    <a:pt x="83" y="88"/>
                    <a:pt x="79" y="99"/>
                    <a:pt x="79" y="110"/>
                  </a:cubicBezTo>
                  <a:cubicBezTo>
                    <a:pt x="79" y="120"/>
                    <a:pt x="82" y="129"/>
                    <a:pt x="87" y="137"/>
                  </a:cubicBezTo>
                  <a:cubicBezTo>
                    <a:pt x="77" y="137"/>
                    <a:pt x="77" y="137"/>
                    <a:pt x="77" y="137"/>
                  </a:cubicBezTo>
                  <a:cubicBezTo>
                    <a:pt x="58" y="137"/>
                    <a:pt x="41" y="148"/>
                    <a:pt x="36" y="165"/>
                  </a:cubicBezTo>
                  <a:cubicBezTo>
                    <a:pt x="36" y="166"/>
                    <a:pt x="35" y="167"/>
                    <a:pt x="35" y="169"/>
                  </a:cubicBezTo>
                  <a:close/>
                  <a:moveTo>
                    <a:pt x="62" y="0"/>
                  </a:moveTo>
                  <a:cubicBezTo>
                    <a:pt x="74" y="0"/>
                    <a:pt x="83" y="9"/>
                    <a:pt x="83" y="20"/>
                  </a:cubicBezTo>
                  <a:cubicBezTo>
                    <a:pt x="83" y="31"/>
                    <a:pt x="74" y="40"/>
                    <a:pt x="62" y="40"/>
                  </a:cubicBezTo>
                  <a:cubicBezTo>
                    <a:pt x="51" y="40"/>
                    <a:pt x="42" y="31"/>
                    <a:pt x="42" y="20"/>
                  </a:cubicBezTo>
                  <a:cubicBezTo>
                    <a:pt x="42" y="9"/>
                    <a:pt x="51" y="0"/>
                    <a:pt x="62" y="0"/>
                  </a:cubicBezTo>
                  <a:close/>
                  <a:moveTo>
                    <a:pt x="122" y="79"/>
                  </a:moveTo>
                  <a:cubicBezTo>
                    <a:pt x="140" y="79"/>
                    <a:pt x="154" y="93"/>
                    <a:pt x="154" y="110"/>
                  </a:cubicBezTo>
                  <a:cubicBezTo>
                    <a:pt x="154" y="127"/>
                    <a:pt x="140" y="141"/>
                    <a:pt x="122" y="141"/>
                  </a:cubicBezTo>
                  <a:cubicBezTo>
                    <a:pt x="105" y="141"/>
                    <a:pt x="91" y="127"/>
                    <a:pt x="91" y="110"/>
                  </a:cubicBezTo>
                  <a:cubicBezTo>
                    <a:pt x="91" y="93"/>
                    <a:pt x="105" y="79"/>
                    <a:pt x="122" y="79"/>
                  </a:cubicBezTo>
                  <a:close/>
                  <a:moveTo>
                    <a:pt x="182" y="0"/>
                  </a:moveTo>
                  <a:cubicBezTo>
                    <a:pt x="193" y="0"/>
                    <a:pt x="201" y="9"/>
                    <a:pt x="201" y="20"/>
                  </a:cubicBezTo>
                  <a:cubicBezTo>
                    <a:pt x="201" y="31"/>
                    <a:pt x="193" y="40"/>
                    <a:pt x="182" y="40"/>
                  </a:cubicBezTo>
                  <a:cubicBezTo>
                    <a:pt x="171" y="40"/>
                    <a:pt x="162" y="31"/>
                    <a:pt x="162" y="20"/>
                  </a:cubicBezTo>
                  <a:cubicBezTo>
                    <a:pt x="162" y="9"/>
                    <a:pt x="171" y="0"/>
                    <a:pt x="182" y="0"/>
                  </a:cubicBezTo>
                  <a:close/>
                </a:path>
              </a:pathLst>
            </a:custGeom>
            <a:solidFill>
              <a:srgbClr val="003C54"/>
            </a:solidFill>
            <a:ln w="9525">
              <a:noFill/>
              <a:round/>
              <a:headEnd/>
              <a:tailEnd/>
            </a:ln>
          </p:spPr>
          <p:txBody>
            <a:bodyPr vert="horz" wrap="square" lIns="100817" tIns="50408" rIns="100817" bIns="50408" numCol="1" anchor="t" anchorCtr="0" compatLnSpc="1">
              <a:prstTxWarp prst="textNoShape">
                <a:avLst/>
              </a:prstTxWarp>
            </a:bodyPr>
            <a:lstStyle/>
            <a:p>
              <a:endParaRPr lang="en-US" sz="2205">
                <a:latin typeface="Arial" panose="020B0604020202020204" pitchFamily="34" charset="0"/>
                <a:cs typeface="Arial" panose="020B0604020202020204" pitchFamily="34" charset="0"/>
                <a:sym typeface="Arial" panose="020B0604020202020204" pitchFamily="34" charset="0"/>
              </a:endParaRPr>
            </a:p>
          </p:txBody>
        </p:sp>
        <p:sp>
          <p:nvSpPr>
            <p:cNvPr id="47" name="TextBox 46">
              <a:extLst>
                <a:ext uri="{FF2B5EF4-FFF2-40B4-BE49-F238E27FC236}">
                  <a16:creationId xmlns:a16="http://schemas.microsoft.com/office/drawing/2014/main" id="{FE2EEB0F-7710-430A-B952-91E767DD2889}"/>
                </a:ext>
              </a:extLst>
            </p:cNvPr>
            <p:cNvSpPr txBox="1"/>
            <p:nvPr/>
          </p:nvSpPr>
          <p:spPr>
            <a:xfrm>
              <a:off x="4038475" y="5684957"/>
              <a:ext cx="600005" cy="158556"/>
            </a:xfrm>
            <a:prstGeom prst="rect">
              <a:avLst/>
            </a:prstGeom>
            <a:solidFill>
              <a:schemeClr val="bg1"/>
            </a:solidFill>
          </p:spPr>
          <p:txBody>
            <a:bodyPr wrap="square" lIns="0" tIns="0" rIns="0" bIns="0" rtlCol="0">
              <a:noAutofit/>
            </a:bodyPr>
            <a:lstStyle/>
            <a:p>
              <a:pPr defTabSz="456758" fontAlgn="base">
                <a:spcBef>
                  <a:spcPts val="1200"/>
                </a:spcBef>
              </a:pPr>
              <a:r>
                <a:rPr lang="en-US" sz="1200" dirty="0">
                  <a:solidFill>
                    <a:srgbClr val="064E69"/>
                  </a:solidFill>
                  <a:cs typeface="Open Sans Light"/>
                </a:rPr>
                <a:t>Nurses</a:t>
              </a:r>
            </a:p>
          </p:txBody>
        </p:sp>
      </p:grpSp>
      <p:cxnSp>
        <p:nvCxnSpPr>
          <p:cNvPr id="48" name="Straight Connector 47">
            <a:extLst>
              <a:ext uri="{FF2B5EF4-FFF2-40B4-BE49-F238E27FC236}">
                <a16:creationId xmlns:a16="http://schemas.microsoft.com/office/drawing/2014/main" id="{CD70566D-5F1A-4CCD-993A-41712A17C3A8}"/>
              </a:ext>
            </a:extLst>
          </p:cNvPr>
          <p:cNvCxnSpPr>
            <a:cxnSpLocks/>
            <a:stCxn id="43" idx="2"/>
          </p:cNvCxnSpPr>
          <p:nvPr/>
        </p:nvCxnSpPr>
        <p:spPr>
          <a:xfrm>
            <a:off x="4987169" y="3276646"/>
            <a:ext cx="0" cy="304546"/>
          </a:xfrm>
          <a:prstGeom prst="line">
            <a:avLst/>
          </a:prstGeom>
          <a:ln w="1270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94A84CD-A6A6-4689-9800-11D703F29E72}"/>
              </a:ext>
            </a:extLst>
          </p:cNvPr>
          <p:cNvCxnSpPr>
            <a:cxnSpLocks/>
            <a:stCxn id="44" idx="2"/>
          </p:cNvCxnSpPr>
          <p:nvPr/>
        </p:nvCxnSpPr>
        <p:spPr>
          <a:xfrm flipH="1">
            <a:off x="8827964" y="3276646"/>
            <a:ext cx="1" cy="348658"/>
          </a:xfrm>
          <a:prstGeom prst="line">
            <a:avLst/>
          </a:prstGeom>
          <a:ln w="1270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35B87E54-4A94-41CC-A48F-769B87EFD3AF}"/>
              </a:ext>
            </a:extLst>
          </p:cNvPr>
          <p:cNvSpPr/>
          <p:nvPr/>
        </p:nvSpPr>
        <p:spPr>
          <a:xfrm>
            <a:off x="4773896" y="5542451"/>
            <a:ext cx="2378419" cy="747535"/>
          </a:xfrm>
          <a:prstGeom prst="ellipse">
            <a:avLst/>
          </a:prstGeom>
          <a:solidFill>
            <a:srgbClr val="003C54"/>
          </a:solidFill>
          <a:ln>
            <a:noFill/>
          </a:ln>
          <a:effectLst/>
        </p:spPr>
        <p:style>
          <a:lnRef idx="1">
            <a:schemeClr val="accent3"/>
          </a:lnRef>
          <a:fillRef idx="2">
            <a:schemeClr val="accent3"/>
          </a:fillRef>
          <a:effectRef idx="1">
            <a:schemeClr val="accent3"/>
          </a:effectRef>
          <a:fontRef idx="minor">
            <a:schemeClr val="dk1"/>
          </a:fontRef>
        </p:style>
        <p:txBody>
          <a:bodyPr rtlCol="0" anchor="ctr"/>
          <a:lstStyle/>
          <a:p>
            <a:pPr algn="ctr"/>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UDF</a:t>
            </a:r>
          </a:p>
        </p:txBody>
      </p:sp>
      <p:cxnSp>
        <p:nvCxnSpPr>
          <p:cNvPr id="46" name="Straight Connector 45">
            <a:extLst>
              <a:ext uri="{FF2B5EF4-FFF2-40B4-BE49-F238E27FC236}">
                <a16:creationId xmlns:a16="http://schemas.microsoft.com/office/drawing/2014/main" id="{1408FBD8-9156-48D1-942A-E03781F69903}"/>
              </a:ext>
            </a:extLst>
          </p:cNvPr>
          <p:cNvCxnSpPr>
            <a:cxnSpLocks/>
            <a:stCxn id="32" idx="2"/>
            <a:endCxn id="29" idx="2"/>
          </p:cNvCxnSpPr>
          <p:nvPr/>
        </p:nvCxnSpPr>
        <p:spPr>
          <a:xfrm>
            <a:off x="3416135" y="3954959"/>
            <a:ext cx="1357761" cy="1961260"/>
          </a:xfrm>
          <a:prstGeom prst="line">
            <a:avLst/>
          </a:prstGeom>
          <a:ln w="12700" cmpd="sng">
            <a:solidFill>
              <a:schemeClr val="tx1"/>
            </a:solidFill>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290B0311-E264-4DBC-803E-822B7B3DA8C8}"/>
              </a:ext>
            </a:extLst>
          </p:cNvPr>
          <p:cNvGrpSpPr/>
          <p:nvPr/>
        </p:nvGrpSpPr>
        <p:grpSpPr>
          <a:xfrm>
            <a:off x="5329446" y="2050023"/>
            <a:ext cx="183383" cy="331879"/>
            <a:chOff x="1893888" y="3924300"/>
            <a:chExt cx="369888" cy="628650"/>
          </a:xfrm>
          <a:solidFill>
            <a:schemeClr val="accent2"/>
          </a:solidFill>
        </p:grpSpPr>
        <p:sp>
          <p:nvSpPr>
            <p:cNvPr id="62" name="Freeform 37">
              <a:extLst>
                <a:ext uri="{FF2B5EF4-FFF2-40B4-BE49-F238E27FC236}">
                  <a16:creationId xmlns:a16="http://schemas.microsoft.com/office/drawing/2014/main" id="{633876F1-671A-4BF6-8E21-468CD6B46555}"/>
                </a:ext>
              </a:extLst>
            </p:cNvPr>
            <p:cNvSpPr>
              <a:spLocks/>
            </p:cNvSpPr>
            <p:nvPr/>
          </p:nvSpPr>
          <p:spPr bwMode="auto">
            <a:xfrm>
              <a:off x="1893888" y="3924300"/>
              <a:ext cx="369888" cy="347663"/>
            </a:xfrm>
            <a:custGeom>
              <a:avLst/>
              <a:gdLst>
                <a:gd name="T0" fmla="*/ 40 w 67"/>
                <a:gd name="T1" fmla="*/ 9 h 63"/>
                <a:gd name="T2" fmla="*/ 27 w 67"/>
                <a:gd name="T3" fmla="*/ 13 h 63"/>
                <a:gd name="T4" fmla="*/ 13 w 67"/>
                <a:gd name="T5" fmla="*/ 0 h 63"/>
                <a:gd name="T6" fmla="*/ 0 w 67"/>
                <a:gd name="T7" fmla="*/ 14 h 63"/>
                <a:gd name="T8" fmla="*/ 13 w 67"/>
                <a:gd name="T9" fmla="*/ 27 h 63"/>
                <a:gd name="T10" fmla="*/ 15 w 67"/>
                <a:gd name="T11" fmla="*/ 27 h 63"/>
                <a:gd name="T12" fmla="*/ 13 w 67"/>
                <a:gd name="T13" fmla="*/ 36 h 63"/>
                <a:gd name="T14" fmla="*/ 40 w 67"/>
                <a:gd name="T15" fmla="*/ 63 h 63"/>
                <a:gd name="T16" fmla="*/ 67 w 67"/>
                <a:gd name="T17" fmla="*/ 36 h 63"/>
                <a:gd name="T18" fmla="*/ 40 w 67"/>
                <a:gd name="T19"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63">
                  <a:moveTo>
                    <a:pt x="40" y="9"/>
                  </a:moveTo>
                  <a:cubicBezTo>
                    <a:pt x="35" y="9"/>
                    <a:pt x="30" y="10"/>
                    <a:pt x="27" y="13"/>
                  </a:cubicBezTo>
                  <a:cubicBezTo>
                    <a:pt x="26" y="6"/>
                    <a:pt x="20" y="0"/>
                    <a:pt x="13" y="0"/>
                  </a:cubicBezTo>
                  <a:cubicBezTo>
                    <a:pt x="6" y="0"/>
                    <a:pt x="0" y="6"/>
                    <a:pt x="0" y="14"/>
                  </a:cubicBezTo>
                  <a:cubicBezTo>
                    <a:pt x="0" y="21"/>
                    <a:pt x="6" y="27"/>
                    <a:pt x="13" y="27"/>
                  </a:cubicBezTo>
                  <a:cubicBezTo>
                    <a:pt x="14" y="27"/>
                    <a:pt x="14" y="27"/>
                    <a:pt x="15" y="27"/>
                  </a:cubicBezTo>
                  <a:cubicBezTo>
                    <a:pt x="14" y="30"/>
                    <a:pt x="13" y="33"/>
                    <a:pt x="13" y="36"/>
                  </a:cubicBezTo>
                  <a:cubicBezTo>
                    <a:pt x="13" y="51"/>
                    <a:pt x="25" y="63"/>
                    <a:pt x="40" y="63"/>
                  </a:cubicBezTo>
                  <a:cubicBezTo>
                    <a:pt x="55" y="63"/>
                    <a:pt x="67" y="51"/>
                    <a:pt x="67" y="36"/>
                  </a:cubicBezTo>
                  <a:cubicBezTo>
                    <a:pt x="67" y="21"/>
                    <a:pt x="55" y="9"/>
                    <a:pt x="40"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63" name="Freeform 38">
              <a:extLst>
                <a:ext uri="{FF2B5EF4-FFF2-40B4-BE49-F238E27FC236}">
                  <a16:creationId xmlns:a16="http://schemas.microsoft.com/office/drawing/2014/main" id="{3F170721-B06C-4BAE-971E-5A82E83EB161}"/>
                </a:ext>
              </a:extLst>
            </p:cNvPr>
            <p:cNvSpPr>
              <a:spLocks/>
            </p:cNvSpPr>
            <p:nvPr/>
          </p:nvSpPr>
          <p:spPr bwMode="auto">
            <a:xfrm>
              <a:off x="1965326" y="4305300"/>
              <a:ext cx="138113" cy="247650"/>
            </a:xfrm>
            <a:custGeom>
              <a:avLst/>
              <a:gdLst>
                <a:gd name="T0" fmla="*/ 10 w 25"/>
                <a:gd name="T1" fmla="*/ 17 h 45"/>
                <a:gd name="T2" fmla="*/ 10 w 25"/>
                <a:gd name="T3" fmla="*/ 0 h 45"/>
                <a:gd name="T4" fmla="*/ 0 w 25"/>
                <a:gd name="T5" fmla="*/ 20 h 45"/>
                <a:gd name="T6" fmla="*/ 0 w 25"/>
                <a:gd name="T7" fmla="*/ 20 h 45"/>
                <a:gd name="T8" fmla="*/ 0 w 25"/>
                <a:gd name="T9" fmla="*/ 45 h 45"/>
                <a:gd name="T10" fmla="*/ 25 w 25"/>
                <a:gd name="T11" fmla="*/ 45 h 45"/>
                <a:gd name="T12" fmla="*/ 25 w 25"/>
                <a:gd name="T13" fmla="*/ 17 h 45"/>
                <a:gd name="T14" fmla="*/ 10 w 25"/>
                <a:gd name="T15" fmla="*/ 17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45">
                  <a:moveTo>
                    <a:pt x="10" y="17"/>
                  </a:moveTo>
                  <a:cubicBezTo>
                    <a:pt x="10" y="0"/>
                    <a:pt x="10" y="0"/>
                    <a:pt x="10" y="0"/>
                  </a:cubicBezTo>
                  <a:cubicBezTo>
                    <a:pt x="4" y="5"/>
                    <a:pt x="0" y="12"/>
                    <a:pt x="0" y="20"/>
                  </a:cubicBezTo>
                  <a:cubicBezTo>
                    <a:pt x="0" y="20"/>
                    <a:pt x="0" y="20"/>
                    <a:pt x="0" y="20"/>
                  </a:cubicBezTo>
                  <a:cubicBezTo>
                    <a:pt x="0" y="45"/>
                    <a:pt x="0" y="45"/>
                    <a:pt x="0" y="45"/>
                  </a:cubicBezTo>
                  <a:cubicBezTo>
                    <a:pt x="25" y="45"/>
                    <a:pt x="25" y="45"/>
                    <a:pt x="25" y="45"/>
                  </a:cubicBezTo>
                  <a:cubicBezTo>
                    <a:pt x="25" y="17"/>
                    <a:pt x="25" y="17"/>
                    <a:pt x="25" y="17"/>
                  </a:cubicBezTo>
                  <a:lnTo>
                    <a:pt x="10" y="17"/>
                  </a:ln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64" name="Freeform 39">
              <a:extLst>
                <a:ext uri="{FF2B5EF4-FFF2-40B4-BE49-F238E27FC236}">
                  <a16:creationId xmlns:a16="http://schemas.microsoft.com/office/drawing/2014/main" id="{E4E419D2-7374-45A1-AC5B-24A22149E57E}"/>
                </a:ext>
              </a:extLst>
            </p:cNvPr>
            <p:cNvSpPr>
              <a:spLocks/>
            </p:cNvSpPr>
            <p:nvPr/>
          </p:nvSpPr>
          <p:spPr bwMode="auto">
            <a:xfrm>
              <a:off x="2125663" y="4316413"/>
              <a:ext cx="66675" cy="65088"/>
            </a:xfrm>
            <a:custGeom>
              <a:avLst/>
              <a:gdLst>
                <a:gd name="T0" fmla="*/ 42 w 42"/>
                <a:gd name="T1" fmla="*/ 41 h 41"/>
                <a:gd name="T2" fmla="*/ 42 w 42"/>
                <a:gd name="T3" fmla="*/ 0 h 41"/>
                <a:gd name="T4" fmla="*/ 0 w 42"/>
                <a:gd name="T5" fmla="*/ 41 h 41"/>
                <a:gd name="T6" fmla="*/ 42 w 42"/>
                <a:gd name="T7" fmla="*/ 41 h 41"/>
              </a:gdLst>
              <a:ahLst/>
              <a:cxnLst>
                <a:cxn ang="0">
                  <a:pos x="T0" y="T1"/>
                </a:cxn>
                <a:cxn ang="0">
                  <a:pos x="T2" y="T3"/>
                </a:cxn>
                <a:cxn ang="0">
                  <a:pos x="T4" y="T5"/>
                </a:cxn>
                <a:cxn ang="0">
                  <a:pos x="T6" y="T7"/>
                </a:cxn>
              </a:cxnLst>
              <a:rect l="0" t="0" r="r" b="b"/>
              <a:pathLst>
                <a:path w="42" h="41">
                  <a:moveTo>
                    <a:pt x="42" y="41"/>
                  </a:moveTo>
                  <a:lnTo>
                    <a:pt x="42" y="0"/>
                  </a:lnTo>
                  <a:lnTo>
                    <a:pt x="0" y="41"/>
                  </a:lnTo>
                  <a:lnTo>
                    <a:pt x="42" y="41"/>
                  </a:ln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65" name="Freeform 40">
              <a:extLst>
                <a:ext uri="{FF2B5EF4-FFF2-40B4-BE49-F238E27FC236}">
                  <a16:creationId xmlns:a16="http://schemas.microsoft.com/office/drawing/2014/main" id="{D920AA5A-FCD8-404A-A9FA-053D67ED6442}"/>
                </a:ext>
              </a:extLst>
            </p:cNvPr>
            <p:cNvSpPr>
              <a:spLocks/>
            </p:cNvSpPr>
            <p:nvPr/>
          </p:nvSpPr>
          <p:spPr bwMode="auto">
            <a:xfrm>
              <a:off x="2125663" y="4305300"/>
              <a:ext cx="138113" cy="247650"/>
            </a:xfrm>
            <a:custGeom>
              <a:avLst/>
              <a:gdLst>
                <a:gd name="T0" fmla="*/ 25 w 25"/>
                <a:gd name="T1" fmla="*/ 20 h 45"/>
                <a:gd name="T2" fmla="*/ 25 w 25"/>
                <a:gd name="T3" fmla="*/ 20 h 45"/>
                <a:gd name="T4" fmla="*/ 15 w 25"/>
                <a:gd name="T5" fmla="*/ 0 h 45"/>
                <a:gd name="T6" fmla="*/ 15 w 25"/>
                <a:gd name="T7" fmla="*/ 17 h 45"/>
                <a:gd name="T8" fmla="*/ 0 w 25"/>
                <a:gd name="T9" fmla="*/ 17 h 45"/>
                <a:gd name="T10" fmla="*/ 0 w 25"/>
                <a:gd name="T11" fmla="*/ 45 h 45"/>
                <a:gd name="T12" fmla="*/ 25 w 25"/>
                <a:gd name="T13" fmla="*/ 45 h 45"/>
                <a:gd name="T14" fmla="*/ 25 w 25"/>
                <a:gd name="T15" fmla="*/ 2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45">
                  <a:moveTo>
                    <a:pt x="25" y="20"/>
                  </a:moveTo>
                  <a:cubicBezTo>
                    <a:pt x="25" y="20"/>
                    <a:pt x="25" y="20"/>
                    <a:pt x="25" y="20"/>
                  </a:cubicBezTo>
                  <a:cubicBezTo>
                    <a:pt x="25" y="12"/>
                    <a:pt x="21" y="5"/>
                    <a:pt x="15" y="0"/>
                  </a:cubicBezTo>
                  <a:cubicBezTo>
                    <a:pt x="15" y="17"/>
                    <a:pt x="15" y="17"/>
                    <a:pt x="15" y="17"/>
                  </a:cubicBezTo>
                  <a:cubicBezTo>
                    <a:pt x="0" y="17"/>
                    <a:pt x="0" y="17"/>
                    <a:pt x="0" y="17"/>
                  </a:cubicBezTo>
                  <a:cubicBezTo>
                    <a:pt x="0" y="45"/>
                    <a:pt x="0" y="45"/>
                    <a:pt x="0" y="45"/>
                  </a:cubicBezTo>
                  <a:cubicBezTo>
                    <a:pt x="25" y="45"/>
                    <a:pt x="25" y="45"/>
                    <a:pt x="25" y="45"/>
                  </a:cubicBezTo>
                  <a:lnTo>
                    <a:pt x="25" y="20"/>
                  </a:ln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66" name="Freeform 41">
              <a:extLst>
                <a:ext uri="{FF2B5EF4-FFF2-40B4-BE49-F238E27FC236}">
                  <a16:creationId xmlns:a16="http://schemas.microsoft.com/office/drawing/2014/main" id="{1F90F820-B81D-4615-8D39-FC9D12AE4EBB}"/>
                </a:ext>
              </a:extLst>
            </p:cNvPr>
            <p:cNvSpPr>
              <a:spLocks/>
            </p:cNvSpPr>
            <p:nvPr/>
          </p:nvSpPr>
          <p:spPr bwMode="auto">
            <a:xfrm>
              <a:off x="2036763" y="4316413"/>
              <a:ext cx="66675" cy="65088"/>
            </a:xfrm>
            <a:custGeom>
              <a:avLst/>
              <a:gdLst>
                <a:gd name="T0" fmla="*/ 0 w 42"/>
                <a:gd name="T1" fmla="*/ 41 h 41"/>
                <a:gd name="T2" fmla="*/ 42 w 42"/>
                <a:gd name="T3" fmla="*/ 41 h 41"/>
                <a:gd name="T4" fmla="*/ 0 w 42"/>
                <a:gd name="T5" fmla="*/ 0 h 41"/>
                <a:gd name="T6" fmla="*/ 0 w 42"/>
                <a:gd name="T7" fmla="*/ 41 h 41"/>
              </a:gdLst>
              <a:ahLst/>
              <a:cxnLst>
                <a:cxn ang="0">
                  <a:pos x="T0" y="T1"/>
                </a:cxn>
                <a:cxn ang="0">
                  <a:pos x="T2" y="T3"/>
                </a:cxn>
                <a:cxn ang="0">
                  <a:pos x="T4" y="T5"/>
                </a:cxn>
                <a:cxn ang="0">
                  <a:pos x="T6" y="T7"/>
                </a:cxn>
              </a:cxnLst>
              <a:rect l="0" t="0" r="r" b="b"/>
              <a:pathLst>
                <a:path w="42" h="41">
                  <a:moveTo>
                    <a:pt x="0" y="41"/>
                  </a:moveTo>
                  <a:lnTo>
                    <a:pt x="42" y="41"/>
                  </a:lnTo>
                  <a:lnTo>
                    <a:pt x="0" y="0"/>
                  </a:lnTo>
                  <a:lnTo>
                    <a:pt x="0" y="41"/>
                  </a:ln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grpSp>
      <p:sp>
        <p:nvSpPr>
          <p:cNvPr id="73" name="TextBox 72">
            <a:extLst>
              <a:ext uri="{FF2B5EF4-FFF2-40B4-BE49-F238E27FC236}">
                <a16:creationId xmlns:a16="http://schemas.microsoft.com/office/drawing/2014/main" id="{5920C413-E747-4815-8AC9-1A2911177BE1}"/>
              </a:ext>
            </a:extLst>
          </p:cNvPr>
          <p:cNvSpPr txBox="1"/>
          <p:nvPr/>
        </p:nvSpPr>
        <p:spPr>
          <a:xfrm>
            <a:off x="5272757" y="2386698"/>
            <a:ext cx="391277" cy="158557"/>
          </a:xfrm>
          <a:prstGeom prst="rect">
            <a:avLst/>
          </a:prstGeom>
          <a:solidFill>
            <a:schemeClr val="bg1"/>
          </a:solidFill>
        </p:spPr>
        <p:txBody>
          <a:bodyPr wrap="square" lIns="0" tIns="0" rIns="0" bIns="0" rtlCol="0">
            <a:noAutofit/>
          </a:bodyPr>
          <a:lstStyle/>
          <a:p>
            <a:pPr defTabSz="456758" fontAlgn="base">
              <a:spcBef>
                <a:spcPts val="1200"/>
              </a:spcBef>
            </a:pPr>
            <a:r>
              <a:rPr lang="en-US" sz="1200" dirty="0">
                <a:solidFill>
                  <a:srgbClr val="064E69"/>
                </a:solidFill>
                <a:cs typeface="Open Sans Light"/>
              </a:rPr>
              <a:t>CMO</a:t>
            </a:r>
          </a:p>
        </p:txBody>
      </p:sp>
      <p:sp>
        <p:nvSpPr>
          <p:cNvPr id="74" name="Rectangle: Rounded Corners 73">
            <a:extLst>
              <a:ext uri="{FF2B5EF4-FFF2-40B4-BE49-F238E27FC236}">
                <a16:creationId xmlns:a16="http://schemas.microsoft.com/office/drawing/2014/main" id="{24A809D5-2460-4363-8501-807C2798233B}"/>
              </a:ext>
            </a:extLst>
          </p:cNvPr>
          <p:cNvSpPr/>
          <p:nvPr/>
        </p:nvSpPr>
        <p:spPr>
          <a:xfrm>
            <a:off x="5041012" y="4734793"/>
            <a:ext cx="1848832" cy="707572"/>
          </a:xfrm>
          <a:prstGeom prst="round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cs typeface="Open Sans Bold"/>
              </a:rPr>
              <a:t>Quality  Management</a:t>
            </a:r>
          </a:p>
        </p:txBody>
      </p:sp>
      <p:sp>
        <p:nvSpPr>
          <p:cNvPr id="79" name="Freeform 24">
            <a:extLst>
              <a:ext uri="{FF2B5EF4-FFF2-40B4-BE49-F238E27FC236}">
                <a16:creationId xmlns:a16="http://schemas.microsoft.com/office/drawing/2014/main" id="{4182F84B-FBA7-410E-A9CF-02C6848CD5CB}"/>
              </a:ext>
            </a:extLst>
          </p:cNvPr>
          <p:cNvSpPr>
            <a:spLocks noEditPoints="1"/>
          </p:cNvSpPr>
          <p:nvPr/>
        </p:nvSpPr>
        <p:spPr bwMode="auto">
          <a:xfrm>
            <a:off x="5629304" y="4119624"/>
            <a:ext cx="448797" cy="294576"/>
          </a:xfrm>
          <a:custGeom>
            <a:avLst/>
            <a:gdLst/>
            <a:ahLst/>
            <a:cxnLst>
              <a:cxn ang="0">
                <a:pos x="231" y="141"/>
              </a:cxn>
              <a:cxn ang="0">
                <a:pos x="206" y="82"/>
              </a:cxn>
              <a:cxn ang="0">
                <a:pos x="217" y="156"/>
              </a:cxn>
              <a:cxn ang="0">
                <a:pos x="210" y="168"/>
              </a:cxn>
              <a:cxn ang="0">
                <a:pos x="208" y="165"/>
              </a:cxn>
              <a:cxn ang="0">
                <a:pos x="157" y="137"/>
              </a:cxn>
              <a:cxn ang="0">
                <a:pos x="141" y="71"/>
              </a:cxn>
              <a:cxn ang="0">
                <a:pos x="144" y="62"/>
              </a:cxn>
              <a:cxn ang="0">
                <a:pos x="201" y="48"/>
              </a:cxn>
              <a:cxn ang="0">
                <a:pos x="219" y="62"/>
              </a:cxn>
              <a:cxn ang="0">
                <a:pos x="234" y="141"/>
              </a:cxn>
              <a:cxn ang="0">
                <a:pos x="170" y="198"/>
              </a:cxn>
              <a:cxn ang="0">
                <a:pos x="164" y="242"/>
              </a:cxn>
              <a:cxn ang="0">
                <a:pos x="81" y="242"/>
              </a:cxn>
              <a:cxn ang="0">
                <a:pos x="75" y="198"/>
              </a:cxn>
              <a:cxn ang="0">
                <a:pos x="40" y="219"/>
              </a:cxn>
              <a:cxn ang="0">
                <a:pos x="48" y="169"/>
              </a:cxn>
              <a:cxn ang="0">
                <a:pos x="104" y="149"/>
              </a:cxn>
              <a:cxn ang="0">
                <a:pos x="141" y="149"/>
              </a:cxn>
              <a:cxn ang="0">
                <a:pos x="196" y="169"/>
              </a:cxn>
              <a:cxn ang="0">
                <a:pos x="204" y="219"/>
              </a:cxn>
              <a:cxn ang="0">
                <a:pos x="35" y="169"/>
              </a:cxn>
              <a:cxn ang="0">
                <a:pos x="36" y="80"/>
              </a:cxn>
              <a:cxn ang="0">
                <a:pos x="21" y="131"/>
              </a:cxn>
              <a:cxn ang="0">
                <a:pos x="9" y="140"/>
              </a:cxn>
              <a:cxn ang="0">
                <a:pos x="12" y="61"/>
              </a:cxn>
              <a:cxn ang="0">
                <a:pos x="31" y="47"/>
              </a:cxn>
              <a:cxn ang="0">
                <a:pos x="62" y="69"/>
              </a:cxn>
              <a:cxn ang="0">
                <a:pos x="94" y="47"/>
              </a:cxn>
              <a:cxn ang="0">
                <a:pos x="113" y="61"/>
              </a:cxn>
              <a:cxn ang="0">
                <a:pos x="91" y="80"/>
              </a:cxn>
              <a:cxn ang="0">
                <a:pos x="90" y="81"/>
              </a:cxn>
              <a:cxn ang="0">
                <a:pos x="87" y="137"/>
              </a:cxn>
              <a:cxn ang="0">
                <a:pos x="36" y="165"/>
              </a:cxn>
              <a:cxn ang="0">
                <a:pos x="62" y="0"/>
              </a:cxn>
              <a:cxn ang="0">
                <a:pos x="62" y="40"/>
              </a:cxn>
              <a:cxn ang="0">
                <a:pos x="62" y="0"/>
              </a:cxn>
              <a:cxn ang="0">
                <a:pos x="154" y="110"/>
              </a:cxn>
              <a:cxn ang="0">
                <a:pos x="91" y="110"/>
              </a:cxn>
              <a:cxn ang="0">
                <a:pos x="182" y="0"/>
              </a:cxn>
              <a:cxn ang="0">
                <a:pos x="182" y="40"/>
              </a:cxn>
              <a:cxn ang="0">
                <a:pos x="182" y="0"/>
              </a:cxn>
            </a:cxnLst>
            <a:rect l="0" t="0" r="r" b="b"/>
            <a:pathLst>
              <a:path w="241" h="248">
                <a:moveTo>
                  <a:pt x="234" y="141"/>
                </a:moveTo>
                <a:cubicBezTo>
                  <a:pt x="233" y="141"/>
                  <a:pt x="232" y="141"/>
                  <a:pt x="231" y="141"/>
                </a:cubicBezTo>
                <a:cubicBezTo>
                  <a:pt x="227" y="141"/>
                  <a:pt x="223" y="139"/>
                  <a:pt x="222" y="134"/>
                </a:cubicBezTo>
                <a:cubicBezTo>
                  <a:pt x="206" y="82"/>
                  <a:pt x="206" y="82"/>
                  <a:pt x="206" y="82"/>
                </a:cubicBezTo>
                <a:cubicBezTo>
                  <a:pt x="198" y="82"/>
                  <a:pt x="198" y="82"/>
                  <a:pt x="198" y="82"/>
                </a:cubicBezTo>
                <a:cubicBezTo>
                  <a:pt x="217" y="156"/>
                  <a:pt x="217" y="156"/>
                  <a:pt x="217" y="156"/>
                </a:cubicBezTo>
                <a:cubicBezTo>
                  <a:pt x="218" y="157"/>
                  <a:pt x="218" y="158"/>
                  <a:pt x="218" y="160"/>
                </a:cubicBezTo>
                <a:cubicBezTo>
                  <a:pt x="218" y="164"/>
                  <a:pt x="214" y="168"/>
                  <a:pt x="210" y="168"/>
                </a:cubicBezTo>
                <a:cubicBezTo>
                  <a:pt x="209" y="168"/>
                  <a:pt x="209" y="168"/>
                  <a:pt x="209" y="168"/>
                </a:cubicBezTo>
                <a:cubicBezTo>
                  <a:pt x="208" y="167"/>
                  <a:pt x="208" y="166"/>
                  <a:pt x="208" y="165"/>
                </a:cubicBezTo>
                <a:cubicBezTo>
                  <a:pt x="203" y="148"/>
                  <a:pt x="186" y="137"/>
                  <a:pt x="168" y="137"/>
                </a:cubicBezTo>
                <a:cubicBezTo>
                  <a:pt x="157" y="137"/>
                  <a:pt x="157" y="137"/>
                  <a:pt x="157" y="137"/>
                </a:cubicBezTo>
                <a:cubicBezTo>
                  <a:pt x="163" y="129"/>
                  <a:pt x="166" y="120"/>
                  <a:pt x="166" y="110"/>
                </a:cubicBezTo>
                <a:cubicBezTo>
                  <a:pt x="166" y="93"/>
                  <a:pt x="156" y="78"/>
                  <a:pt x="141" y="71"/>
                </a:cubicBezTo>
                <a:cubicBezTo>
                  <a:pt x="144" y="62"/>
                  <a:pt x="144" y="62"/>
                  <a:pt x="144" y="62"/>
                </a:cubicBezTo>
                <a:cubicBezTo>
                  <a:pt x="144" y="62"/>
                  <a:pt x="144" y="62"/>
                  <a:pt x="144" y="62"/>
                </a:cubicBezTo>
                <a:cubicBezTo>
                  <a:pt x="147" y="53"/>
                  <a:pt x="154" y="48"/>
                  <a:pt x="162" y="48"/>
                </a:cubicBezTo>
                <a:cubicBezTo>
                  <a:pt x="201" y="48"/>
                  <a:pt x="201" y="48"/>
                  <a:pt x="201" y="48"/>
                </a:cubicBezTo>
                <a:cubicBezTo>
                  <a:pt x="209" y="48"/>
                  <a:pt x="216" y="53"/>
                  <a:pt x="219" y="62"/>
                </a:cubicBezTo>
                <a:cubicBezTo>
                  <a:pt x="219" y="62"/>
                  <a:pt x="219" y="62"/>
                  <a:pt x="219" y="62"/>
                </a:cubicBezTo>
                <a:cubicBezTo>
                  <a:pt x="240" y="129"/>
                  <a:pt x="240" y="129"/>
                  <a:pt x="240" y="129"/>
                </a:cubicBezTo>
                <a:cubicBezTo>
                  <a:pt x="241" y="134"/>
                  <a:pt x="238" y="139"/>
                  <a:pt x="234" y="141"/>
                </a:cubicBezTo>
                <a:close/>
                <a:moveTo>
                  <a:pt x="176" y="237"/>
                </a:moveTo>
                <a:cubicBezTo>
                  <a:pt x="170" y="198"/>
                  <a:pt x="170" y="198"/>
                  <a:pt x="170" y="198"/>
                </a:cubicBezTo>
                <a:cubicBezTo>
                  <a:pt x="162" y="198"/>
                  <a:pt x="162" y="198"/>
                  <a:pt x="162" y="198"/>
                </a:cubicBezTo>
                <a:cubicBezTo>
                  <a:pt x="164" y="242"/>
                  <a:pt x="164" y="242"/>
                  <a:pt x="164" y="242"/>
                </a:cubicBezTo>
                <a:cubicBezTo>
                  <a:pt x="151" y="246"/>
                  <a:pt x="137" y="248"/>
                  <a:pt x="122" y="248"/>
                </a:cubicBezTo>
                <a:cubicBezTo>
                  <a:pt x="108" y="248"/>
                  <a:pt x="94" y="246"/>
                  <a:pt x="81" y="242"/>
                </a:cubicBezTo>
                <a:cubicBezTo>
                  <a:pt x="83" y="198"/>
                  <a:pt x="83" y="198"/>
                  <a:pt x="83" y="198"/>
                </a:cubicBezTo>
                <a:cubicBezTo>
                  <a:pt x="75" y="198"/>
                  <a:pt x="75" y="198"/>
                  <a:pt x="75" y="198"/>
                </a:cubicBezTo>
                <a:cubicBezTo>
                  <a:pt x="67" y="237"/>
                  <a:pt x="67" y="237"/>
                  <a:pt x="67" y="237"/>
                </a:cubicBezTo>
                <a:cubicBezTo>
                  <a:pt x="57" y="232"/>
                  <a:pt x="48" y="226"/>
                  <a:pt x="40" y="219"/>
                </a:cubicBezTo>
                <a:cubicBezTo>
                  <a:pt x="48" y="171"/>
                  <a:pt x="48" y="171"/>
                  <a:pt x="48" y="171"/>
                </a:cubicBezTo>
                <a:cubicBezTo>
                  <a:pt x="48" y="170"/>
                  <a:pt x="48" y="169"/>
                  <a:pt x="48" y="169"/>
                </a:cubicBezTo>
                <a:cubicBezTo>
                  <a:pt x="52" y="157"/>
                  <a:pt x="63" y="149"/>
                  <a:pt x="77" y="149"/>
                </a:cubicBezTo>
                <a:cubicBezTo>
                  <a:pt x="104" y="149"/>
                  <a:pt x="104" y="149"/>
                  <a:pt x="104" y="149"/>
                </a:cubicBezTo>
                <a:cubicBezTo>
                  <a:pt x="123" y="182"/>
                  <a:pt x="123" y="182"/>
                  <a:pt x="123" y="182"/>
                </a:cubicBezTo>
                <a:cubicBezTo>
                  <a:pt x="141" y="149"/>
                  <a:pt x="141" y="149"/>
                  <a:pt x="141" y="149"/>
                </a:cubicBezTo>
                <a:cubicBezTo>
                  <a:pt x="168" y="149"/>
                  <a:pt x="168" y="149"/>
                  <a:pt x="168" y="149"/>
                </a:cubicBezTo>
                <a:cubicBezTo>
                  <a:pt x="181" y="149"/>
                  <a:pt x="192" y="157"/>
                  <a:pt x="196" y="169"/>
                </a:cubicBezTo>
                <a:cubicBezTo>
                  <a:pt x="196" y="169"/>
                  <a:pt x="196" y="170"/>
                  <a:pt x="196" y="171"/>
                </a:cubicBezTo>
                <a:cubicBezTo>
                  <a:pt x="204" y="219"/>
                  <a:pt x="204" y="219"/>
                  <a:pt x="204" y="219"/>
                </a:cubicBezTo>
                <a:cubicBezTo>
                  <a:pt x="196" y="226"/>
                  <a:pt x="186" y="232"/>
                  <a:pt x="176" y="237"/>
                </a:cubicBezTo>
                <a:close/>
                <a:moveTo>
                  <a:pt x="35" y="169"/>
                </a:moveTo>
                <a:cubicBezTo>
                  <a:pt x="34" y="174"/>
                  <a:pt x="34" y="174"/>
                  <a:pt x="34" y="174"/>
                </a:cubicBezTo>
                <a:cubicBezTo>
                  <a:pt x="36" y="80"/>
                  <a:pt x="36" y="80"/>
                  <a:pt x="36" y="80"/>
                </a:cubicBezTo>
                <a:cubicBezTo>
                  <a:pt x="30" y="80"/>
                  <a:pt x="30" y="80"/>
                  <a:pt x="30" y="80"/>
                </a:cubicBezTo>
                <a:cubicBezTo>
                  <a:pt x="21" y="131"/>
                  <a:pt x="21" y="131"/>
                  <a:pt x="21" y="131"/>
                </a:cubicBezTo>
                <a:cubicBezTo>
                  <a:pt x="20" y="136"/>
                  <a:pt x="16" y="140"/>
                  <a:pt x="11" y="140"/>
                </a:cubicBezTo>
                <a:cubicBezTo>
                  <a:pt x="11" y="140"/>
                  <a:pt x="10" y="140"/>
                  <a:pt x="9" y="140"/>
                </a:cubicBezTo>
                <a:cubicBezTo>
                  <a:pt x="4" y="139"/>
                  <a:pt x="0" y="133"/>
                  <a:pt x="1" y="128"/>
                </a:cubicBezTo>
                <a:cubicBezTo>
                  <a:pt x="12" y="61"/>
                  <a:pt x="12" y="61"/>
                  <a:pt x="12" y="61"/>
                </a:cubicBezTo>
                <a:cubicBezTo>
                  <a:pt x="12" y="60"/>
                  <a:pt x="12" y="60"/>
                  <a:pt x="12" y="60"/>
                </a:cubicBezTo>
                <a:cubicBezTo>
                  <a:pt x="15" y="52"/>
                  <a:pt x="23" y="47"/>
                  <a:pt x="31" y="47"/>
                </a:cubicBezTo>
                <a:cubicBezTo>
                  <a:pt x="49" y="47"/>
                  <a:pt x="49" y="47"/>
                  <a:pt x="49" y="47"/>
                </a:cubicBezTo>
                <a:cubicBezTo>
                  <a:pt x="62" y="69"/>
                  <a:pt x="62" y="69"/>
                  <a:pt x="62" y="69"/>
                </a:cubicBezTo>
                <a:cubicBezTo>
                  <a:pt x="76" y="47"/>
                  <a:pt x="76" y="47"/>
                  <a:pt x="76" y="47"/>
                </a:cubicBezTo>
                <a:cubicBezTo>
                  <a:pt x="94" y="47"/>
                  <a:pt x="94" y="47"/>
                  <a:pt x="94" y="47"/>
                </a:cubicBezTo>
                <a:cubicBezTo>
                  <a:pt x="103" y="47"/>
                  <a:pt x="110" y="52"/>
                  <a:pt x="113" y="60"/>
                </a:cubicBezTo>
                <a:cubicBezTo>
                  <a:pt x="113" y="61"/>
                  <a:pt x="113" y="61"/>
                  <a:pt x="113" y="61"/>
                </a:cubicBezTo>
                <a:cubicBezTo>
                  <a:pt x="114" y="67"/>
                  <a:pt x="114" y="67"/>
                  <a:pt x="114" y="67"/>
                </a:cubicBezTo>
                <a:cubicBezTo>
                  <a:pt x="105" y="69"/>
                  <a:pt x="97" y="73"/>
                  <a:pt x="91" y="80"/>
                </a:cubicBezTo>
                <a:cubicBezTo>
                  <a:pt x="90" y="80"/>
                  <a:pt x="90" y="80"/>
                  <a:pt x="90" y="80"/>
                </a:cubicBezTo>
                <a:cubicBezTo>
                  <a:pt x="90" y="81"/>
                  <a:pt x="90" y="81"/>
                  <a:pt x="90" y="81"/>
                </a:cubicBezTo>
                <a:cubicBezTo>
                  <a:pt x="83" y="88"/>
                  <a:pt x="79" y="99"/>
                  <a:pt x="79" y="110"/>
                </a:cubicBezTo>
                <a:cubicBezTo>
                  <a:pt x="79" y="120"/>
                  <a:pt x="82" y="129"/>
                  <a:pt x="87" y="137"/>
                </a:cubicBezTo>
                <a:cubicBezTo>
                  <a:pt x="77" y="137"/>
                  <a:pt x="77" y="137"/>
                  <a:pt x="77" y="137"/>
                </a:cubicBezTo>
                <a:cubicBezTo>
                  <a:pt x="58" y="137"/>
                  <a:pt x="41" y="148"/>
                  <a:pt x="36" y="165"/>
                </a:cubicBezTo>
                <a:cubicBezTo>
                  <a:pt x="36" y="166"/>
                  <a:pt x="35" y="167"/>
                  <a:pt x="35" y="169"/>
                </a:cubicBezTo>
                <a:close/>
                <a:moveTo>
                  <a:pt x="62" y="0"/>
                </a:moveTo>
                <a:cubicBezTo>
                  <a:pt x="74" y="0"/>
                  <a:pt x="83" y="9"/>
                  <a:pt x="83" y="20"/>
                </a:cubicBezTo>
                <a:cubicBezTo>
                  <a:pt x="83" y="31"/>
                  <a:pt x="74" y="40"/>
                  <a:pt x="62" y="40"/>
                </a:cubicBezTo>
                <a:cubicBezTo>
                  <a:pt x="51" y="40"/>
                  <a:pt x="42" y="31"/>
                  <a:pt x="42" y="20"/>
                </a:cubicBezTo>
                <a:cubicBezTo>
                  <a:pt x="42" y="9"/>
                  <a:pt x="51" y="0"/>
                  <a:pt x="62" y="0"/>
                </a:cubicBezTo>
                <a:close/>
                <a:moveTo>
                  <a:pt x="122" y="79"/>
                </a:moveTo>
                <a:cubicBezTo>
                  <a:pt x="140" y="79"/>
                  <a:pt x="154" y="93"/>
                  <a:pt x="154" y="110"/>
                </a:cubicBezTo>
                <a:cubicBezTo>
                  <a:pt x="154" y="127"/>
                  <a:pt x="140" y="141"/>
                  <a:pt x="122" y="141"/>
                </a:cubicBezTo>
                <a:cubicBezTo>
                  <a:pt x="105" y="141"/>
                  <a:pt x="91" y="127"/>
                  <a:pt x="91" y="110"/>
                </a:cubicBezTo>
                <a:cubicBezTo>
                  <a:pt x="91" y="93"/>
                  <a:pt x="105" y="79"/>
                  <a:pt x="122" y="79"/>
                </a:cubicBezTo>
                <a:close/>
                <a:moveTo>
                  <a:pt x="182" y="0"/>
                </a:moveTo>
                <a:cubicBezTo>
                  <a:pt x="193" y="0"/>
                  <a:pt x="201" y="9"/>
                  <a:pt x="201" y="20"/>
                </a:cubicBezTo>
                <a:cubicBezTo>
                  <a:pt x="201" y="31"/>
                  <a:pt x="193" y="40"/>
                  <a:pt x="182" y="40"/>
                </a:cubicBezTo>
                <a:cubicBezTo>
                  <a:pt x="171" y="40"/>
                  <a:pt x="162" y="31"/>
                  <a:pt x="162" y="20"/>
                </a:cubicBezTo>
                <a:cubicBezTo>
                  <a:pt x="162" y="9"/>
                  <a:pt x="171" y="0"/>
                  <a:pt x="182" y="0"/>
                </a:cubicBezTo>
                <a:close/>
              </a:path>
            </a:pathLst>
          </a:custGeom>
          <a:solidFill>
            <a:srgbClr val="003C54"/>
          </a:solidFill>
          <a:ln w="9525">
            <a:noFill/>
            <a:round/>
            <a:headEnd/>
            <a:tailEnd/>
          </a:ln>
        </p:spPr>
        <p:txBody>
          <a:bodyPr vert="horz" wrap="square" lIns="100817" tIns="50408" rIns="100817" bIns="50408" numCol="1" anchor="t" anchorCtr="0" compatLnSpc="1">
            <a:prstTxWarp prst="textNoShape">
              <a:avLst/>
            </a:prstTxWarp>
          </a:bodyPr>
          <a:lstStyle/>
          <a:p>
            <a:endParaRPr lang="en-US" sz="2205">
              <a:latin typeface="Arial" panose="020B0604020202020204" pitchFamily="34" charset="0"/>
              <a:cs typeface="Arial" panose="020B0604020202020204" pitchFamily="34" charset="0"/>
              <a:sym typeface="Arial" panose="020B0604020202020204" pitchFamily="34" charset="0"/>
            </a:endParaRPr>
          </a:p>
        </p:txBody>
      </p:sp>
      <p:sp>
        <p:nvSpPr>
          <p:cNvPr id="50" name="TextBox 49">
            <a:extLst>
              <a:ext uri="{FF2B5EF4-FFF2-40B4-BE49-F238E27FC236}">
                <a16:creationId xmlns:a16="http://schemas.microsoft.com/office/drawing/2014/main" id="{39BA95AA-9092-4BA3-8E17-341150DD46D7}"/>
              </a:ext>
            </a:extLst>
          </p:cNvPr>
          <p:cNvSpPr txBox="1"/>
          <p:nvPr/>
        </p:nvSpPr>
        <p:spPr>
          <a:xfrm>
            <a:off x="5339042" y="4401101"/>
            <a:ext cx="1159796" cy="233607"/>
          </a:xfrm>
          <a:prstGeom prst="rect">
            <a:avLst/>
          </a:prstGeom>
          <a:solidFill>
            <a:schemeClr val="bg1"/>
          </a:solidFill>
        </p:spPr>
        <p:txBody>
          <a:bodyPr wrap="square" lIns="0" tIns="0" rIns="0" bIns="0" rtlCol="0">
            <a:noAutofit/>
          </a:bodyPr>
          <a:lstStyle/>
          <a:p>
            <a:pPr algn="ctr" defTabSz="456758" fontAlgn="base"/>
            <a:r>
              <a:rPr lang="en-US" sz="1200" dirty="0">
                <a:solidFill>
                  <a:srgbClr val="064E69"/>
                </a:solidFill>
                <a:cs typeface="Open Sans Light"/>
              </a:rPr>
              <a:t>Data Analysts</a:t>
            </a:r>
          </a:p>
          <a:p>
            <a:pPr algn="ctr" defTabSz="456758" fontAlgn="base"/>
            <a:r>
              <a:rPr lang="en-US" sz="1200" dirty="0">
                <a:solidFill>
                  <a:srgbClr val="064E69"/>
                </a:solidFill>
                <a:cs typeface="Open Sans Light"/>
              </a:rPr>
              <a:t>Outreach Teams</a:t>
            </a:r>
          </a:p>
        </p:txBody>
      </p:sp>
      <p:cxnSp>
        <p:nvCxnSpPr>
          <p:cNvPr id="51" name="Straight Connector 50">
            <a:extLst>
              <a:ext uri="{FF2B5EF4-FFF2-40B4-BE49-F238E27FC236}">
                <a16:creationId xmlns:a16="http://schemas.microsoft.com/office/drawing/2014/main" id="{A9B87B2D-75D5-4AAE-9FD2-8066C6A2FE1E}"/>
              </a:ext>
            </a:extLst>
          </p:cNvPr>
          <p:cNvCxnSpPr>
            <a:cxnSpLocks/>
            <a:stCxn id="26" idx="2"/>
            <a:endCxn id="29" idx="6"/>
          </p:cNvCxnSpPr>
          <p:nvPr/>
        </p:nvCxnSpPr>
        <p:spPr>
          <a:xfrm flipH="1">
            <a:off x="7152315" y="3954549"/>
            <a:ext cx="823731" cy="1961670"/>
          </a:xfrm>
          <a:prstGeom prst="line">
            <a:avLst/>
          </a:prstGeom>
          <a:ln w="1270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532A9D40-6658-41BE-9761-B850DCE7778F}"/>
              </a:ext>
            </a:extLst>
          </p:cNvPr>
          <p:cNvCxnSpPr>
            <a:cxnSpLocks/>
            <a:stCxn id="74" idx="2"/>
          </p:cNvCxnSpPr>
          <p:nvPr/>
        </p:nvCxnSpPr>
        <p:spPr>
          <a:xfrm flipH="1">
            <a:off x="5933746" y="5442365"/>
            <a:ext cx="31682" cy="153246"/>
          </a:xfrm>
          <a:prstGeom prst="line">
            <a:avLst/>
          </a:prstGeom>
          <a:ln w="12700" cmpd="sng">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13186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5" name="think-cell Slide" r:id="rId5" imgW="498" imgH="499" progId="TCLayout.ActiveDocument.1">
                  <p:embed/>
                </p:oleObj>
              </mc:Choice>
              <mc:Fallback>
                <p:oleObj name="think-cell Slide" r:id="rId5" imgW="498" imgH="499"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latin typeface="Arial" panose="020B0604020202020204" pitchFamily="34" charset="0"/>
                <a:cs typeface="Arial" panose="020B0604020202020204" pitchFamily="34" charset="0"/>
                <a:sym typeface="Arial" panose="020B0604020202020204" pitchFamily="34" charset="0"/>
              </a:rPr>
              <a:t>Table of Contents</a:t>
            </a:r>
          </a:p>
        </p:txBody>
      </p:sp>
      <p:graphicFrame>
        <p:nvGraphicFramePr>
          <p:cNvPr id="5" name="Table 4"/>
          <p:cNvGraphicFramePr>
            <a:graphicFrameLocks noGrp="1"/>
          </p:cNvGraphicFramePr>
          <p:nvPr>
            <p:extLst>
              <p:ext uri="{D42A27DB-BD31-4B8C-83A1-F6EECF244321}">
                <p14:modId xmlns:p14="http://schemas.microsoft.com/office/powerpoint/2010/main" val="2445422797"/>
              </p:ext>
            </p:extLst>
          </p:nvPr>
        </p:nvGraphicFramePr>
        <p:xfrm>
          <a:off x="457200" y="1589833"/>
          <a:ext cx="11348357" cy="3678334"/>
        </p:xfrm>
        <a:graphic>
          <a:graphicData uri="http://schemas.openxmlformats.org/drawingml/2006/table">
            <a:tbl>
              <a:tblPr>
                <a:tableStyleId>{5C22544A-7EE6-4342-B048-85BDC9FD1C3A}</a:tableStyleId>
              </a:tblPr>
              <a:tblGrid>
                <a:gridCol w="2710543">
                  <a:extLst>
                    <a:ext uri="{9D8B030D-6E8A-4147-A177-3AD203B41FA5}">
                      <a16:colId xmlns:a16="http://schemas.microsoft.com/office/drawing/2014/main" val="702386202"/>
                    </a:ext>
                  </a:extLst>
                </a:gridCol>
                <a:gridCol w="8637814">
                  <a:extLst>
                    <a:ext uri="{9D8B030D-6E8A-4147-A177-3AD203B41FA5}">
                      <a16:colId xmlns:a16="http://schemas.microsoft.com/office/drawing/2014/main" val="580591082"/>
                    </a:ext>
                  </a:extLst>
                </a:gridCol>
              </a:tblGrid>
              <a:tr h="477934">
                <a:tc>
                  <a:txBody>
                    <a:bodyPr/>
                    <a:lstStyle/>
                    <a:p>
                      <a:pPr algn="ctr" fontAlgn="b"/>
                      <a:r>
                        <a:rPr lang="en-US" sz="2000" b="1" u="none" strike="noStrike" dirty="0">
                          <a:solidFill>
                            <a:schemeClr val="accent2"/>
                          </a:solidFill>
                          <a:effectLst/>
                          <a:latin typeface="Arial" panose="020B0604020202020204" pitchFamily="34" charset="0"/>
                          <a:cs typeface="Arial" panose="020B0604020202020204" pitchFamily="34" charset="0"/>
                          <a:sym typeface="Arial" panose="020B0604020202020204" pitchFamily="34" charset="0"/>
                        </a:rPr>
                        <a:t>Slide Title</a:t>
                      </a:r>
                      <a:endParaRPr lang="en-US" sz="2000" b="1" i="0" u="none" strike="noStrike" dirty="0">
                        <a:solidFill>
                          <a:schemeClr val="accent2"/>
                        </a:solidFill>
                        <a:effectLst/>
                        <a:latin typeface="Arial" panose="020B0604020202020204" pitchFamily="34" charset="0"/>
                        <a:cs typeface="Arial" panose="020B0604020202020204" pitchFamily="34" charset="0"/>
                        <a:sym typeface="Arial" panose="020B0604020202020204" pitchFamily="34" charset="0"/>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2000" b="1" i="0" u="none" strike="noStrike" dirty="0">
                          <a:solidFill>
                            <a:schemeClr val="accent2"/>
                          </a:solidFill>
                          <a:effectLst/>
                          <a:latin typeface="Arial" panose="020B0604020202020204" pitchFamily="34" charset="0"/>
                          <a:cs typeface="Arial" panose="020B0604020202020204" pitchFamily="34" charset="0"/>
                          <a:sym typeface="Arial" panose="020B0604020202020204" pitchFamily="34" charset="0"/>
                        </a:rPr>
                        <a:t>Intent</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83036813"/>
                  </a:ext>
                </a:extLst>
              </a:tr>
              <a:tr h="282977">
                <a:tc>
                  <a:txBody>
                    <a:bodyPr/>
                    <a:lstStyle/>
                    <a:p>
                      <a:pPr algn="l" fontAlgn="b"/>
                      <a:r>
                        <a:rPr lang="en-US" sz="1800" u="none" strike="noStrike" dirty="0">
                          <a:effectLst/>
                          <a:latin typeface="Arial" panose="020B0604020202020204" pitchFamily="34" charset="0"/>
                          <a:cs typeface="Arial" panose="020B0604020202020204" pitchFamily="34" charset="0"/>
                          <a:sym typeface="Arial" panose="020B0604020202020204" pitchFamily="34" charset="0"/>
                        </a:rPr>
                        <a:t>Executive Summary</a:t>
                      </a:r>
                      <a:endParaRPr lang="en-US" sz="1800" b="0" i="0" u="none" strike="noStrike" dirty="0">
                        <a:solidFill>
                          <a:srgbClr val="000000"/>
                        </a:solidFill>
                        <a:effectLst/>
                        <a:latin typeface="Arial" panose="020B0604020202020204" pitchFamily="34" charset="0"/>
                        <a:cs typeface="Arial" panose="020B0604020202020204" pitchFamily="34" charset="0"/>
                        <a:sym typeface="Arial" panose="020B0604020202020204" pitchFamily="34" charset="0"/>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b"/>
                      <a:r>
                        <a:rPr lang="en-US" sz="1800" b="0" i="0" u="none" strike="noStrike" dirty="0">
                          <a:solidFill>
                            <a:srgbClr val="000000"/>
                          </a:solidFill>
                          <a:effectLst/>
                          <a:latin typeface="Arial" panose="020B0604020202020204" pitchFamily="34" charset="0"/>
                          <a:cs typeface="Arial" panose="020B0604020202020204" pitchFamily="34" charset="0"/>
                          <a:sym typeface="Arial" panose="020B0604020202020204" pitchFamily="34" charset="0"/>
                        </a:rPr>
                        <a:t>Provides summary of deck’s key</a:t>
                      </a:r>
                      <a:r>
                        <a:rPr lang="en-US" sz="1800" b="0" i="0" u="none" strike="noStrike" baseline="0" dirty="0">
                          <a:solidFill>
                            <a:srgbClr val="000000"/>
                          </a:solidFill>
                          <a:effectLst/>
                          <a:latin typeface="Arial" panose="020B0604020202020204" pitchFamily="34" charset="0"/>
                          <a:cs typeface="Arial" panose="020B0604020202020204" pitchFamily="34" charset="0"/>
                          <a:sym typeface="Arial" panose="020B0604020202020204" pitchFamily="34" charset="0"/>
                        </a:rPr>
                        <a:t> contents</a:t>
                      </a:r>
                      <a:endParaRPr lang="en-US" sz="1800" b="0" i="0" u="none" strike="noStrike" dirty="0">
                        <a:solidFill>
                          <a:srgbClr val="000000"/>
                        </a:solidFill>
                        <a:effectLst/>
                        <a:latin typeface="Arial" panose="020B0604020202020204" pitchFamily="34" charset="0"/>
                        <a:cs typeface="Arial" panose="020B0604020202020204" pitchFamily="34" charset="0"/>
                        <a:sym typeface="Arial" panose="020B0604020202020204" pitchFamily="34" charset="0"/>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1746029"/>
                  </a:ext>
                </a:extLst>
              </a:tr>
              <a:tr h="528243">
                <a:tc>
                  <a:txBody>
                    <a:bodyPr/>
                    <a:lstStyle/>
                    <a:p>
                      <a:pPr algn="l" fontAlgn="b"/>
                      <a:r>
                        <a:rPr lang="en-US" sz="1800" b="0" i="0" u="none" strike="noStrike" dirty="0">
                          <a:solidFill>
                            <a:srgbClr val="000000"/>
                          </a:solidFill>
                          <a:effectLst/>
                          <a:latin typeface="Arial" panose="020B0604020202020204" pitchFamily="34" charset="0"/>
                          <a:cs typeface="Arial" panose="020B0604020202020204" pitchFamily="34" charset="0"/>
                          <a:sym typeface="Arial" panose="020B0604020202020204" pitchFamily="34" charset="0"/>
                        </a:rPr>
                        <a:t>Background / Opportunity</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800" dirty="0">
                          <a:solidFill>
                            <a:srgbClr val="000000"/>
                          </a:solidFill>
                          <a:latin typeface="Arial" panose="020B0604020202020204" pitchFamily="34" charset="0"/>
                          <a:cs typeface="Arial" panose="020B0604020202020204" pitchFamily="34" charset="0"/>
                          <a:sym typeface="Arial" panose="020B0604020202020204" pitchFamily="34" charset="0"/>
                        </a:rPr>
                        <a:t>Describes the problem or opportunity CVS is currently facing that has led the O-CTO to develop this North Star.</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27547730"/>
                  </a:ext>
                </a:extLst>
              </a:tr>
              <a:tr h="471629">
                <a:tc>
                  <a:txBody>
                    <a:bodyPr/>
                    <a:lstStyle/>
                    <a:p>
                      <a:pPr algn="l" fontAlgn="b"/>
                      <a:r>
                        <a:rPr lang="en-US" sz="1800" b="0" i="0" u="none" strike="noStrike" dirty="0">
                          <a:solidFill>
                            <a:srgbClr val="000000"/>
                          </a:solidFill>
                          <a:effectLst/>
                          <a:latin typeface="Arial" panose="020B0604020202020204" pitchFamily="34" charset="0"/>
                          <a:cs typeface="Arial" panose="020B0604020202020204" pitchFamily="34" charset="0"/>
                          <a:sym typeface="Arial" panose="020B0604020202020204" pitchFamily="34" charset="0"/>
                        </a:rPr>
                        <a:t>Why is it Important to CVS</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800" dirty="0">
                          <a:solidFill>
                            <a:srgbClr val="000000"/>
                          </a:solidFill>
                          <a:latin typeface="Arial" panose="020B0604020202020204" pitchFamily="34" charset="0"/>
                          <a:cs typeface="Arial" panose="020B0604020202020204" pitchFamily="34" charset="0"/>
                          <a:sym typeface="Arial" panose="020B0604020202020204" pitchFamily="34" charset="0"/>
                        </a:rPr>
                        <a:t>Drives alignment with business, either through showing how their current mission is aligned with the North Star.</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59907966"/>
                  </a:ext>
                </a:extLst>
              </a:tr>
              <a:tr h="471629">
                <a:tc>
                  <a:txBody>
                    <a:bodyPr/>
                    <a:lstStyle/>
                    <a:p>
                      <a:pPr algn="l" fontAlgn="b"/>
                      <a:r>
                        <a:rPr lang="en-US" sz="1800" b="0" i="0" u="none" strike="noStrike" dirty="0">
                          <a:solidFill>
                            <a:srgbClr val="000000"/>
                          </a:solidFill>
                          <a:effectLst/>
                          <a:latin typeface="Arial" panose="020B0604020202020204" pitchFamily="34" charset="0"/>
                          <a:cs typeface="Arial" panose="020B0604020202020204" pitchFamily="34" charset="0"/>
                          <a:sym typeface="Arial" panose="020B0604020202020204" pitchFamily="34" charset="0"/>
                        </a:rPr>
                        <a:t>Strategic and Future Thoughts </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b"/>
                      <a:r>
                        <a:rPr lang="en-US" sz="1800" dirty="0">
                          <a:solidFill>
                            <a:srgbClr val="000000"/>
                          </a:solidFill>
                          <a:latin typeface="Arial" panose="020B0604020202020204" pitchFamily="34" charset="0"/>
                          <a:cs typeface="Arial" panose="020B0604020202020204" pitchFamily="34" charset="0"/>
                          <a:sym typeface="Arial" panose="020B0604020202020204" pitchFamily="34" charset="0"/>
                        </a:rPr>
                        <a:t>Lays out the potential actions that, if taken, could result in full realization of the North Star to the end.</a:t>
                      </a:r>
                      <a:endParaRPr lang="en-US" sz="1800" b="0" i="0" u="none" strike="noStrike" dirty="0">
                        <a:solidFill>
                          <a:srgbClr val="000000"/>
                        </a:solidFill>
                        <a:effectLst/>
                        <a:latin typeface="Arial" panose="020B0604020202020204" pitchFamily="34" charset="0"/>
                        <a:cs typeface="Arial" panose="020B0604020202020204" pitchFamily="34" charset="0"/>
                        <a:sym typeface="Arial" panose="020B0604020202020204" pitchFamily="34" charset="0"/>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49143233"/>
                  </a:ext>
                </a:extLst>
              </a:tr>
              <a:tr h="528243">
                <a:tc>
                  <a:txBody>
                    <a:bodyPr/>
                    <a:lstStyle/>
                    <a:p>
                      <a:pPr algn="l" fontAlgn="b"/>
                      <a:r>
                        <a:rPr lang="en-US" sz="1800" b="0" i="0" u="none" strike="noStrike" dirty="0">
                          <a:solidFill>
                            <a:srgbClr val="000000"/>
                          </a:solidFill>
                          <a:effectLst/>
                          <a:latin typeface="Arial" panose="020B0604020202020204" pitchFamily="34" charset="0"/>
                          <a:cs typeface="Arial" panose="020B0604020202020204" pitchFamily="34" charset="0"/>
                          <a:sym typeface="Arial" panose="020B0604020202020204" pitchFamily="34" charset="0"/>
                        </a:rPr>
                        <a:t>Next Steps / Roadmap</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800" dirty="0">
                          <a:solidFill>
                            <a:srgbClr val="000000"/>
                          </a:solidFill>
                          <a:latin typeface="Arial" panose="020B0604020202020204" pitchFamily="34" charset="0"/>
                          <a:cs typeface="Arial" panose="020B0604020202020204" pitchFamily="34" charset="0"/>
                          <a:sym typeface="Arial" panose="020B0604020202020204" pitchFamily="34" charset="0"/>
                        </a:rPr>
                        <a:t>Allows the O-CTO to provide recommendations on how to move forward with the necessary action(s). This</a:t>
                      </a:r>
                      <a:r>
                        <a:rPr lang="en-US" sz="1800" baseline="0" dirty="0">
                          <a:solidFill>
                            <a:srgbClr val="000000"/>
                          </a:solidFill>
                          <a:latin typeface="Arial" panose="020B0604020202020204" pitchFamily="34" charset="0"/>
                          <a:cs typeface="Arial" panose="020B0604020202020204" pitchFamily="34" charset="0"/>
                          <a:sym typeface="Arial" panose="020B0604020202020204" pitchFamily="34" charset="0"/>
                        </a:rPr>
                        <a:t> is possibly “where to start”, “what to do” – this is not the full set of actions to get to the end-state.</a:t>
                      </a:r>
                      <a:endParaRPr lang="en-US" sz="1800" dirty="0">
                        <a:solidFill>
                          <a:srgbClr val="000000"/>
                        </a:solidFill>
                        <a:latin typeface="Arial" panose="020B0604020202020204" pitchFamily="34" charset="0"/>
                        <a:cs typeface="Arial" panose="020B0604020202020204" pitchFamily="34" charset="0"/>
                        <a:sym typeface="Arial" panose="020B0604020202020204" pitchFamily="34" charset="0"/>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18131896"/>
                  </a:ext>
                </a:extLst>
              </a:tr>
            </a:tbl>
          </a:graphicData>
        </a:graphic>
      </p:graphicFrame>
      <p:sp>
        <p:nvSpPr>
          <p:cNvPr id="4" name="Rectangle 3">
            <a:extLst>
              <a:ext uri="{FF2B5EF4-FFF2-40B4-BE49-F238E27FC236}">
                <a16:creationId xmlns:a16="http://schemas.microsoft.com/office/drawing/2014/main" id="{BDBE1E53-8375-4CD1-8EE8-2D395A109183}"/>
              </a:ext>
            </a:extLst>
          </p:cNvPr>
          <p:cNvSpPr/>
          <p:nvPr/>
        </p:nvSpPr>
        <p:spPr>
          <a:xfrm>
            <a:off x="105507" y="5238182"/>
            <a:ext cx="11980985" cy="1169551"/>
          </a:xfrm>
          <a:prstGeom prst="rect">
            <a:avLst/>
          </a:prstGeom>
        </p:spPr>
        <p:txBody>
          <a:bodyPr wrap="square">
            <a:spAutoFit/>
          </a:bodyPr>
          <a:lstStyle/>
          <a:p>
            <a:r>
              <a:rPr lang="en-US" sz="1000" dirty="0">
                <a:latin typeface="Calibri" panose="020F0502020204030204" pitchFamily="34" charset="0"/>
                <a:ea typeface="Times New Roman" panose="02020603050405020304" pitchFamily="18" charset="0"/>
                <a:cs typeface="Times New Roman" panose="02020603050405020304" pitchFamily="18" charset="0"/>
              </a:rPr>
              <a:t>Platform strategies are an approach to delivering business capabilities that drive down costs, accelerate transformation and improve consumer experience. Platforms combine business and IT capabilities to create a unified landscape of modular components with clearly defined roles and responsibilities. Each platform is developed and operated as an independent entity, with well-defined relationships to other internal and external platforms. </a:t>
            </a:r>
          </a:p>
          <a:p>
            <a:pPr>
              <a:spcBef>
                <a:spcPts val="600"/>
              </a:spcBef>
            </a:pPr>
            <a:r>
              <a:rPr lang="en-US" sz="1000" dirty="0">
                <a:latin typeface="Calibri" panose="020F0502020204030204" pitchFamily="34" charset="0"/>
                <a:ea typeface="Times New Roman" panose="02020603050405020304" pitchFamily="18" charset="0"/>
                <a:cs typeface="Times New Roman" panose="02020603050405020304" pitchFamily="18" charset="0"/>
              </a:rPr>
              <a:t>A full-fledged platform brings together business processes and IT systems in a first-class integrated fashion. Each platform can and will have multiple different underlying IT systems, each fulfilling their part of the overall platform capabilities.</a:t>
            </a:r>
          </a:p>
          <a:p>
            <a:pPr>
              <a:spcBef>
                <a:spcPts val="600"/>
              </a:spcBef>
            </a:pPr>
            <a:r>
              <a:rPr lang="en-US" sz="1000" dirty="0">
                <a:latin typeface="Calibri" panose="020F0502020204030204" pitchFamily="34" charset="0"/>
                <a:ea typeface="Times New Roman" panose="02020603050405020304" pitchFamily="18" charset="0"/>
                <a:cs typeface="Times New Roman" panose="02020603050405020304" pitchFamily="18" charset="0"/>
              </a:rPr>
              <a:t>Platform strategies are owned and executed by a business owner and an IT owner, who take end-to-end responsibility for providing the associated platform and operating it like a service, through a cross functional platform delivery team. Governance and decision processes are aligned to maximizing enterprise value while maintaining decision agility and delivery speed. </a:t>
            </a:r>
          </a:p>
        </p:txBody>
      </p:sp>
    </p:spTree>
    <p:extLst>
      <p:ext uri="{BB962C8B-B14F-4D97-AF65-F5344CB8AC3E}">
        <p14:creationId xmlns:p14="http://schemas.microsoft.com/office/powerpoint/2010/main" val="36603077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1">
            <a:extLst>
              <a:ext uri="{FF2B5EF4-FFF2-40B4-BE49-F238E27FC236}">
                <a16:creationId xmlns:a16="http://schemas.microsoft.com/office/drawing/2014/main" id="{56AE07DD-A0E5-483E-BC89-911BCA6725D9}"/>
              </a:ext>
            </a:extLst>
          </p:cNvPr>
          <p:cNvSpPr txBox="1">
            <a:spLocks/>
          </p:cNvSpPr>
          <p:nvPr/>
        </p:nvSpPr>
        <p:spPr>
          <a:xfrm>
            <a:off x="309313" y="297738"/>
            <a:ext cx="9688623" cy="476805"/>
          </a:xfrm>
          <a:prstGeom prst="rect">
            <a:avLst/>
          </a:prstGeom>
        </p:spPr>
        <p:txBody>
          <a:bodyPr tIns="0" bIns="0" anchor="t" anchorCtr="0"/>
          <a:lstStyle>
            <a:lvl1pPr algn="l" defTabSz="457200" rtl="0" eaLnBrk="1" fontAlgn="base" hangingPunct="1">
              <a:lnSpc>
                <a:spcPct val="90000"/>
              </a:lnSpc>
              <a:spcBef>
                <a:spcPct val="0"/>
              </a:spcBef>
              <a:spcAft>
                <a:spcPct val="0"/>
              </a:spcAft>
              <a:defRPr sz="3000" b="1" kern="120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algn="l" defTabSz="457200" rtl="0" eaLnBrk="1" fontAlgn="base" hangingPunct="1">
              <a:lnSpc>
                <a:spcPct val="90000"/>
              </a:lnSpc>
              <a:spcBef>
                <a:spcPct val="0"/>
              </a:spcBef>
              <a:spcAft>
                <a:spcPct val="0"/>
              </a:spcAft>
              <a:defRPr sz="2600" b="1">
                <a:solidFill>
                  <a:schemeClr val="tx1"/>
                </a:solidFill>
                <a:latin typeface="Arial" pitchFamily="34" charset="0"/>
              </a:defRPr>
            </a:lvl2pPr>
            <a:lvl3pPr algn="l" defTabSz="457200" rtl="0" eaLnBrk="1" fontAlgn="base" hangingPunct="1">
              <a:lnSpc>
                <a:spcPct val="90000"/>
              </a:lnSpc>
              <a:spcBef>
                <a:spcPct val="0"/>
              </a:spcBef>
              <a:spcAft>
                <a:spcPct val="0"/>
              </a:spcAft>
              <a:defRPr sz="2600" b="1">
                <a:solidFill>
                  <a:schemeClr val="tx1"/>
                </a:solidFill>
                <a:latin typeface="Arial" pitchFamily="34" charset="0"/>
              </a:defRPr>
            </a:lvl3pPr>
            <a:lvl4pPr algn="l" defTabSz="457200" rtl="0" eaLnBrk="1" fontAlgn="base" hangingPunct="1">
              <a:lnSpc>
                <a:spcPct val="90000"/>
              </a:lnSpc>
              <a:spcBef>
                <a:spcPct val="0"/>
              </a:spcBef>
              <a:spcAft>
                <a:spcPct val="0"/>
              </a:spcAft>
              <a:defRPr sz="2600" b="1">
                <a:solidFill>
                  <a:schemeClr val="tx1"/>
                </a:solidFill>
                <a:latin typeface="Arial" pitchFamily="34" charset="0"/>
              </a:defRPr>
            </a:lvl4pPr>
            <a:lvl5pPr algn="l" defTabSz="457200" rtl="0" eaLnBrk="1" fontAlgn="base" hangingPunct="1">
              <a:lnSpc>
                <a:spcPct val="90000"/>
              </a:lnSpc>
              <a:spcBef>
                <a:spcPct val="0"/>
              </a:spcBef>
              <a:spcAft>
                <a:spcPct val="0"/>
              </a:spcAft>
              <a:defRPr sz="2600" b="1">
                <a:solidFill>
                  <a:schemeClr val="tx1"/>
                </a:solidFill>
                <a:latin typeface="Arial" pitchFamily="34" charset="0"/>
              </a:defRPr>
            </a:lvl5pPr>
            <a:lvl6pPr marL="457200" algn="l" defTabSz="457200" rtl="0" eaLnBrk="1" fontAlgn="base" hangingPunct="1">
              <a:lnSpc>
                <a:spcPct val="90000"/>
              </a:lnSpc>
              <a:spcBef>
                <a:spcPct val="0"/>
              </a:spcBef>
              <a:spcAft>
                <a:spcPct val="0"/>
              </a:spcAft>
              <a:defRPr sz="2600" b="1">
                <a:solidFill>
                  <a:schemeClr val="tx1"/>
                </a:solidFill>
                <a:latin typeface="Arial" pitchFamily="34" charset="0"/>
              </a:defRPr>
            </a:lvl6pPr>
            <a:lvl7pPr marL="914400" algn="l" defTabSz="457200" rtl="0" eaLnBrk="1" fontAlgn="base" hangingPunct="1">
              <a:lnSpc>
                <a:spcPct val="90000"/>
              </a:lnSpc>
              <a:spcBef>
                <a:spcPct val="0"/>
              </a:spcBef>
              <a:spcAft>
                <a:spcPct val="0"/>
              </a:spcAft>
              <a:defRPr sz="2600" b="1">
                <a:solidFill>
                  <a:schemeClr val="tx1"/>
                </a:solidFill>
                <a:latin typeface="Arial" pitchFamily="34" charset="0"/>
              </a:defRPr>
            </a:lvl7pPr>
            <a:lvl8pPr marL="1371600" algn="l" defTabSz="457200" rtl="0" eaLnBrk="1" fontAlgn="base" hangingPunct="1">
              <a:lnSpc>
                <a:spcPct val="90000"/>
              </a:lnSpc>
              <a:spcBef>
                <a:spcPct val="0"/>
              </a:spcBef>
              <a:spcAft>
                <a:spcPct val="0"/>
              </a:spcAft>
              <a:defRPr sz="2600" b="1">
                <a:solidFill>
                  <a:schemeClr val="tx1"/>
                </a:solidFill>
                <a:latin typeface="Arial" pitchFamily="34" charset="0"/>
              </a:defRPr>
            </a:lvl8pPr>
            <a:lvl9pPr marL="1828800" algn="l" defTabSz="457200" rtl="0" eaLnBrk="1" fontAlgn="base" hangingPunct="1">
              <a:lnSpc>
                <a:spcPct val="90000"/>
              </a:lnSpc>
              <a:spcBef>
                <a:spcPct val="0"/>
              </a:spcBef>
              <a:spcAft>
                <a:spcPct val="0"/>
              </a:spcAft>
              <a:defRPr sz="2600" b="1">
                <a:solidFill>
                  <a:schemeClr val="tx1"/>
                </a:solidFill>
                <a:latin typeface="Arial" pitchFamily="34" charset="0"/>
              </a:defRPr>
            </a:lvl9pPr>
          </a:lstStyle>
          <a:p>
            <a:r>
              <a:rPr lang="en-US" dirty="0"/>
              <a:t>Clinical Capability Map</a:t>
            </a:r>
          </a:p>
        </p:txBody>
      </p:sp>
      <p:sp>
        <p:nvSpPr>
          <p:cNvPr id="23" name="Text Placeholder 2">
            <a:extLst>
              <a:ext uri="{FF2B5EF4-FFF2-40B4-BE49-F238E27FC236}">
                <a16:creationId xmlns:a16="http://schemas.microsoft.com/office/drawing/2014/main" id="{5B9BEBDA-514C-420C-B426-9AECF5AFE95E}"/>
              </a:ext>
            </a:extLst>
          </p:cNvPr>
          <p:cNvSpPr>
            <a:spLocks noGrp="1"/>
          </p:cNvSpPr>
          <p:nvPr>
            <p:ph type="body" sz="quarter" idx="11"/>
          </p:nvPr>
        </p:nvSpPr>
        <p:spPr>
          <a:xfrm>
            <a:off x="457200" y="860151"/>
            <a:ext cx="9688622" cy="423094"/>
          </a:xfrm>
        </p:spPr>
        <p:txBody>
          <a:bodyPr/>
          <a:lstStyle/>
          <a:p>
            <a:endParaRPr lang="en-US"/>
          </a:p>
        </p:txBody>
      </p:sp>
      <p:sp>
        <p:nvSpPr>
          <p:cNvPr id="43" name="Rectangle: Rounded Corners 42">
            <a:extLst>
              <a:ext uri="{FF2B5EF4-FFF2-40B4-BE49-F238E27FC236}">
                <a16:creationId xmlns:a16="http://schemas.microsoft.com/office/drawing/2014/main" id="{3BC18459-C84E-4CED-A291-FA2B3CD6208B}"/>
              </a:ext>
            </a:extLst>
          </p:cNvPr>
          <p:cNvSpPr/>
          <p:nvPr/>
        </p:nvSpPr>
        <p:spPr>
          <a:xfrm>
            <a:off x="2732980" y="2946854"/>
            <a:ext cx="2224439" cy="960557"/>
          </a:xfrm>
          <a:prstGeom prst="round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cs typeface="Open Sans Bold"/>
              </a:rPr>
              <a:t>Utilization  Management </a:t>
            </a:r>
            <a:r>
              <a:rPr lang="en-US" sz="1200" dirty="0">
                <a:latin typeface="+mj-lt"/>
                <a:cs typeface="Open Sans Bold"/>
              </a:rPr>
              <a:t>(Includes Prior Authorization and Referrals)</a:t>
            </a:r>
            <a:endParaRPr lang="en-US" dirty="0">
              <a:latin typeface="+mj-lt"/>
              <a:cs typeface="Open Sans Bold"/>
            </a:endParaRPr>
          </a:p>
        </p:txBody>
      </p:sp>
      <p:sp>
        <p:nvSpPr>
          <p:cNvPr id="44" name="Rectangle: Rounded Corners 43">
            <a:extLst>
              <a:ext uri="{FF2B5EF4-FFF2-40B4-BE49-F238E27FC236}">
                <a16:creationId xmlns:a16="http://schemas.microsoft.com/office/drawing/2014/main" id="{6000436A-6AEE-4CDE-98A7-DBF6E2503B46}"/>
              </a:ext>
            </a:extLst>
          </p:cNvPr>
          <p:cNvSpPr/>
          <p:nvPr/>
        </p:nvSpPr>
        <p:spPr>
          <a:xfrm>
            <a:off x="5419562" y="2946854"/>
            <a:ext cx="1997719" cy="1292660"/>
          </a:xfrm>
          <a:prstGeom prst="round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cs typeface="Open Sans Bold"/>
              </a:rPr>
              <a:t>Medication Therapy Management </a:t>
            </a:r>
            <a:r>
              <a:rPr lang="en-US" sz="1200" dirty="0">
                <a:latin typeface="+mj-lt"/>
                <a:cs typeface="Open Sans Bold"/>
              </a:rPr>
              <a:t>(Including Rx Fulfillment, Specialty, Infusion)</a:t>
            </a:r>
            <a:endParaRPr lang="en-US" dirty="0">
              <a:latin typeface="+mj-lt"/>
              <a:cs typeface="Open Sans Bold"/>
            </a:endParaRPr>
          </a:p>
        </p:txBody>
      </p:sp>
      <p:sp>
        <p:nvSpPr>
          <p:cNvPr id="74" name="Rectangle: Rounded Corners 73">
            <a:extLst>
              <a:ext uri="{FF2B5EF4-FFF2-40B4-BE49-F238E27FC236}">
                <a16:creationId xmlns:a16="http://schemas.microsoft.com/office/drawing/2014/main" id="{24A809D5-2460-4363-8501-807C2798233B}"/>
              </a:ext>
            </a:extLst>
          </p:cNvPr>
          <p:cNvSpPr/>
          <p:nvPr/>
        </p:nvSpPr>
        <p:spPr>
          <a:xfrm>
            <a:off x="2732979" y="3960995"/>
            <a:ext cx="2224439" cy="1079503"/>
          </a:xfrm>
          <a:prstGeom prst="round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cs typeface="Open Sans Bold"/>
              </a:rPr>
              <a:t>Quality  Management </a:t>
            </a:r>
            <a:r>
              <a:rPr lang="en-US" sz="1200" dirty="0">
                <a:latin typeface="+mj-lt"/>
                <a:cs typeface="Open Sans Bold"/>
              </a:rPr>
              <a:t>(Including HEDIS and STARS Measures)</a:t>
            </a:r>
            <a:endParaRPr lang="en-US" dirty="0">
              <a:latin typeface="+mj-lt"/>
              <a:cs typeface="Open Sans Bold"/>
            </a:endParaRPr>
          </a:p>
        </p:txBody>
      </p:sp>
      <p:sp>
        <p:nvSpPr>
          <p:cNvPr id="40" name="Rectangle: Rounded Corners 39">
            <a:extLst>
              <a:ext uri="{FF2B5EF4-FFF2-40B4-BE49-F238E27FC236}">
                <a16:creationId xmlns:a16="http://schemas.microsoft.com/office/drawing/2014/main" id="{52096D11-27A4-4242-AF7D-937BEAF92537}"/>
              </a:ext>
            </a:extLst>
          </p:cNvPr>
          <p:cNvSpPr/>
          <p:nvPr/>
        </p:nvSpPr>
        <p:spPr>
          <a:xfrm>
            <a:off x="364746" y="5155908"/>
            <a:ext cx="2224439" cy="960557"/>
          </a:xfrm>
          <a:prstGeom prst="round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cs typeface="Open Sans Bold"/>
              </a:rPr>
              <a:t>Wellness  Management   </a:t>
            </a:r>
          </a:p>
        </p:txBody>
      </p:sp>
      <p:sp>
        <p:nvSpPr>
          <p:cNvPr id="41" name="Rectangle: Rounded Corners 40">
            <a:extLst>
              <a:ext uri="{FF2B5EF4-FFF2-40B4-BE49-F238E27FC236}">
                <a16:creationId xmlns:a16="http://schemas.microsoft.com/office/drawing/2014/main" id="{2EB894F1-9D99-4DA7-AB73-91B740C1965F}"/>
              </a:ext>
            </a:extLst>
          </p:cNvPr>
          <p:cNvSpPr/>
          <p:nvPr/>
        </p:nvSpPr>
        <p:spPr>
          <a:xfrm>
            <a:off x="364746" y="2946854"/>
            <a:ext cx="2131988" cy="1001023"/>
          </a:xfrm>
          <a:prstGeom prst="round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cs typeface="Open Sans Bold"/>
              </a:rPr>
              <a:t>Care </a:t>
            </a:r>
          </a:p>
          <a:p>
            <a:pPr algn="ctr"/>
            <a:r>
              <a:rPr lang="en-US" dirty="0">
                <a:latin typeface="+mj-lt"/>
                <a:cs typeface="Open Sans Bold"/>
              </a:rPr>
              <a:t>Management </a:t>
            </a:r>
            <a:r>
              <a:rPr lang="en-US" sz="1200" dirty="0">
                <a:latin typeface="+mj-lt"/>
                <a:cs typeface="Open Sans Bold"/>
              </a:rPr>
              <a:t>(Including Case and Disease Management)</a:t>
            </a:r>
          </a:p>
        </p:txBody>
      </p:sp>
      <p:sp>
        <p:nvSpPr>
          <p:cNvPr id="42" name="Rectangle: Rounded Corners 41">
            <a:extLst>
              <a:ext uri="{FF2B5EF4-FFF2-40B4-BE49-F238E27FC236}">
                <a16:creationId xmlns:a16="http://schemas.microsoft.com/office/drawing/2014/main" id="{3F5A714F-BAB8-48FC-A601-BE7B48205477}"/>
              </a:ext>
            </a:extLst>
          </p:cNvPr>
          <p:cNvSpPr/>
          <p:nvPr/>
        </p:nvSpPr>
        <p:spPr>
          <a:xfrm>
            <a:off x="7773498" y="2960182"/>
            <a:ext cx="2224438" cy="920089"/>
          </a:xfrm>
          <a:prstGeom prst="round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cs typeface="Open Sans Bold"/>
              </a:rPr>
              <a:t>Clinic </a:t>
            </a:r>
          </a:p>
          <a:p>
            <a:pPr algn="ctr"/>
            <a:r>
              <a:rPr lang="en-US" sz="1200" dirty="0">
                <a:latin typeface="+mj-lt"/>
                <a:cs typeface="Open Sans Bold"/>
              </a:rPr>
              <a:t>(Including Minute Clinic, Pharmacy Clinic and Infusion services) </a:t>
            </a:r>
            <a:endParaRPr lang="en-US" dirty="0">
              <a:latin typeface="+mj-lt"/>
              <a:cs typeface="Open Sans Bold"/>
            </a:endParaRPr>
          </a:p>
        </p:txBody>
      </p:sp>
      <p:sp>
        <p:nvSpPr>
          <p:cNvPr id="52" name="Rectangle: Rounded Corners 51">
            <a:extLst>
              <a:ext uri="{FF2B5EF4-FFF2-40B4-BE49-F238E27FC236}">
                <a16:creationId xmlns:a16="http://schemas.microsoft.com/office/drawing/2014/main" id="{E716BDEC-B8DA-44C5-B79A-BD8754FB6364}"/>
              </a:ext>
            </a:extLst>
          </p:cNvPr>
          <p:cNvSpPr/>
          <p:nvPr/>
        </p:nvSpPr>
        <p:spPr>
          <a:xfrm>
            <a:off x="2732979" y="5142508"/>
            <a:ext cx="2224439" cy="960557"/>
          </a:xfrm>
          <a:prstGeom prst="round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cs typeface="Open Sans Bold"/>
              </a:rPr>
              <a:t>Incentive Management </a:t>
            </a:r>
            <a:r>
              <a:rPr lang="en-US" sz="1200" dirty="0">
                <a:latin typeface="+mj-lt"/>
                <a:cs typeface="Open Sans Bold"/>
              </a:rPr>
              <a:t>(Member/Patient Only)</a:t>
            </a:r>
            <a:r>
              <a:rPr lang="en-US" dirty="0">
                <a:latin typeface="+mj-lt"/>
                <a:cs typeface="Open Sans Bold"/>
              </a:rPr>
              <a:t>  </a:t>
            </a:r>
          </a:p>
        </p:txBody>
      </p:sp>
      <p:sp>
        <p:nvSpPr>
          <p:cNvPr id="53" name="Rectangle: Rounded Corners 52">
            <a:extLst>
              <a:ext uri="{FF2B5EF4-FFF2-40B4-BE49-F238E27FC236}">
                <a16:creationId xmlns:a16="http://schemas.microsoft.com/office/drawing/2014/main" id="{B6C432D9-C6A0-4D31-9A8F-9538FA0D1313}"/>
              </a:ext>
            </a:extLst>
          </p:cNvPr>
          <p:cNvSpPr/>
          <p:nvPr/>
        </p:nvSpPr>
        <p:spPr>
          <a:xfrm>
            <a:off x="364746" y="4071614"/>
            <a:ext cx="2224439" cy="960557"/>
          </a:xfrm>
          <a:prstGeom prst="round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cs typeface="Open Sans Bold"/>
              </a:rPr>
              <a:t>Behavior Management </a:t>
            </a:r>
            <a:r>
              <a:rPr lang="en-US" sz="1200" dirty="0">
                <a:latin typeface="+mj-lt"/>
                <a:cs typeface="Open Sans Bold"/>
              </a:rPr>
              <a:t>(Including EAP) </a:t>
            </a:r>
            <a:r>
              <a:rPr lang="en-US" dirty="0">
                <a:latin typeface="+mj-lt"/>
                <a:cs typeface="Open Sans Bold"/>
              </a:rPr>
              <a:t>   </a:t>
            </a:r>
          </a:p>
        </p:txBody>
      </p:sp>
      <p:sp>
        <p:nvSpPr>
          <p:cNvPr id="54" name="Rectangle: Rounded Corners 53">
            <a:extLst>
              <a:ext uri="{FF2B5EF4-FFF2-40B4-BE49-F238E27FC236}">
                <a16:creationId xmlns:a16="http://schemas.microsoft.com/office/drawing/2014/main" id="{7C4F1BC7-EAFF-48F8-A7A1-A5FDF1901165}"/>
              </a:ext>
            </a:extLst>
          </p:cNvPr>
          <p:cNvSpPr/>
          <p:nvPr/>
        </p:nvSpPr>
        <p:spPr>
          <a:xfrm>
            <a:off x="5352426" y="4420079"/>
            <a:ext cx="2131989" cy="714259"/>
          </a:xfrm>
          <a:prstGeom prst="round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cs typeface="Open Sans Bold"/>
              </a:rPr>
              <a:t>Population Health </a:t>
            </a:r>
          </a:p>
        </p:txBody>
      </p:sp>
      <p:sp>
        <p:nvSpPr>
          <p:cNvPr id="55" name="Rectangle: Rounded Corners 54">
            <a:extLst>
              <a:ext uri="{FF2B5EF4-FFF2-40B4-BE49-F238E27FC236}">
                <a16:creationId xmlns:a16="http://schemas.microsoft.com/office/drawing/2014/main" id="{54FF4B8C-E7E0-4C3C-BA38-76C859544AF4}"/>
              </a:ext>
            </a:extLst>
          </p:cNvPr>
          <p:cNvSpPr/>
          <p:nvPr/>
        </p:nvSpPr>
        <p:spPr>
          <a:xfrm>
            <a:off x="1543211" y="1630290"/>
            <a:ext cx="6828414" cy="714259"/>
          </a:xfrm>
          <a:prstGeom prst="round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cs typeface="Open Sans Bold"/>
              </a:rPr>
              <a:t>Brennan, Roberts and </a:t>
            </a:r>
            <a:r>
              <a:rPr lang="en-US" dirty="0" err="1">
                <a:latin typeface="+mj-lt"/>
                <a:cs typeface="Open Sans Bold"/>
              </a:rPr>
              <a:t>Lotvin</a:t>
            </a:r>
            <a:r>
              <a:rPr lang="en-US" dirty="0">
                <a:latin typeface="+mj-lt"/>
                <a:cs typeface="Open Sans Bold"/>
              </a:rPr>
              <a:t>  (Exec Sponsors)</a:t>
            </a:r>
          </a:p>
          <a:p>
            <a:pPr algn="ctr"/>
            <a:r>
              <a:rPr lang="en-US" dirty="0">
                <a:latin typeface="+mj-lt"/>
                <a:cs typeface="Open Sans Bold"/>
              </a:rPr>
              <a:t>Finke, Auger and Jensen (Exec Owners)</a:t>
            </a:r>
          </a:p>
        </p:txBody>
      </p:sp>
    </p:spTree>
    <p:extLst>
      <p:ext uri="{BB962C8B-B14F-4D97-AF65-F5344CB8AC3E}">
        <p14:creationId xmlns:p14="http://schemas.microsoft.com/office/powerpoint/2010/main" val="335724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6948C972-6372-4A38-9C9F-7585FFA73A21}"/>
              </a:ext>
            </a:extLst>
          </p:cNvPr>
          <p:cNvSpPr/>
          <p:nvPr/>
        </p:nvSpPr>
        <p:spPr>
          <a:xfrm rot="16153053">
            <a:off x="-1495109" y="3139695"/>
            <a:ext cx="5551440" cy="1345405"/>
          </a:xfrm>
          <a:prstGeom prst="roundRect">
            <a:avLst/>
          </a:prstGeom>
          <a:noFill/>
          <a:ln w="38100" cap="flat" cmpd="sng" algn="ctr">
            <a:solidFill>
              <a:srgbClr val="064E69"/>
            </a:solidFill>
            <a:prstDash val="solid"/>
          </a:ln>
          <a:effectLst/>
        </p:spPr>
        <p:txBody>
          <a:bodyPr rtlCol="0" anchor="ctr" anchorCtr="0"/>
          <a:lstStyle/>
          <a:p>
            <a:pPr algn="ctr" fontAlgn="base">
              <a:spcBef>
                <a:spcPct val="0"/>
              </a:spcBef>
              <a:spcAft>
                <a:spcPct val="0"/>
              </a:spcAft>
              <a:defRPr/>
            </a:pPr>
            <a:endParaRPr lang="en-US" b="1" kern="0" dirty="0">
              <a:solidFill>
                <a:srgbClr val="000000"/>
              </a:solidFill>
              <a:latin typeface="Calibri"/>
            </a:endParaRPr>
          </a:p>
        </p:txBody>
      </p:sp>
      <p:sp>
        <p:nvSpPr>
          <p:cNvPr id="3" name="TextBox 2">
            <a:extLst>
              <a:ext uri="{FF2B5EF4-FFF2-40B4-BE49-F238E27FC236}">
                <a16:creationId xmlns:a16="http://schemas.microsoft.com/office/drawing/2014/main" id="{40C1BDAB-9FBC-4814-9D08-526BDC92AC0E}"/>
              </a:ext>
            </a:extLst>
          </p:cNvPr>
          <p:cNvSpPr txBox="1"/>
          <p:nvPr/>
        </p:nvSpPr>
        <p:spPr>
          <a:xfrm rot="16157369">
            <a:off x="-202130" y="4451714"/>
            <a:ext cx="1216458" cy="328606"/>
          </a:xfrm>
          <a:prstGeom prst="rect">
            <a:avLst/>
          </a:prstGeom>
          <a:noFill/>
        </p:spPr>
        <p:txBody>
          <a:bodyPr wrap="none" lIns="0" tIns="0" rIns="0" bIns="0" rtlCol="0">
            <a:noAutofit/>
          </a:bodyPr>
          <a:lstStyle/>
          <a:p>
            <a:pPr defTabSz="456758" fontAlgn="base">
              <a:spcBef>
                <a:spcPts val="1200"/>
              </a:spcBef>
            </a:pPr>
            <a:r>
              <a:rPr lang="en-US" dirty="0">
                <a:solidFill>
                  <a:schemeClr val="tx2"/>
                </a:solidFill>
                <a:latin typeface="Open Sans Light"/>
                <a:cs typeface="Open Sans Light"/>
              </a:rPr>
              <a:t>Systems of Engagement </a:t>
            </a:r>
          </a:p>
        </p:txBody>
      </p:sp>
      <p:grpSp>
        <p:nvGrpSpPr>
          <p:cNvPr id="9" name="Group 8">
            <a:extLst>
              <a:ext uri="{FF2B5EF4-FFF2-40B4-BE49-F238E27FC236}">
                <a16:creationId xmlns:a16="http://schemas.microsoft.com/office/drawing/2014/main" id="{0FD8BBE9-16A3-4FF9-B9F2-BC773785A1EF}"/>
              </a:ext>
            </a:extLst>
          </p:cNvPr>
          <p:cNvGrpSpPr/>
          <p:nvPr/>
        </p:nvGrpSpPr>
        <p:grpSpPr>
          <a:xfrm>
            <a:off x="808740" y="4681994"/>
            <a:ext cx="764691" cy="660250"/>
            <a:chOff x="45445" y="4294341"/>
            <a:chExt cx="878357" cy="774362"/>
          </a:xfrm>
        </p:grpSpPr>
        <p:pic>
          <p:nvPicPr>
            <p:cNvPr id="10" name="Picture 13" descr="C:\Gioia Files\Weebles\Weeble Mania\j0434888.png">
              <a:extLst>
                <a:ext uri="{FF2B5EF4-FFF2-40B4-BE49-F238E27FC236}">
                  <a16:creationId xmlns:a16="http://schemas.microsoft.com/office/drawing/2014/main" id="{63A6D0B3-EA7B-4F74-901B-EE2FE6D2DCEB}"/>
                </a:ext>
              </a:extLst>
            </p:cNvPr>
            <p:cNvPicPr>
              <a:picLocks noChangeAspect="1" noChangeArrowheads="1"/>
            </p:cNvPicPr>
            <p:nvPr/>
          </p:nvPicPr>
          <p:blipFill>
            <a:blip r:embed="rId3" cstate="print"/>
            <a:srcRect/>
            <a:stretch>
              <a:fillRect/>
            </a:stretch>
          </p:blipFill>
          <p:spPr bwMode="auto">
            <a:xfrm>
              <a:off x="236618" y="4294341"/>
              <a:ext cx="496015" cy="496015"/>
            </a:xfrm>
            <a:prstGeom prst="rect">
              <a:avLst/>
            </a:prstGeom>
            <a:noFill/>
            <a:ln>
              <a:noFill/>
            </a:ln>
          </p:spPr>
        </p:pic>
        <p:sp>
          <p:nvSpPr>
            <p:cNvPr id="11" name="TextBox 10">
              <a:extLst>
                <a:ext uri="{FF2B5EF4-FFF2-40B4-BE49-F238E27FC236}">
                  <a16:creationId xmlns:a16="http://schemas.microsoft.com/office/drawing/2014/main" id="{D2829D7E-4876-4DB4-9207-66CEB153B088}"/>
                </a:ext>
              </a:extLst>
            </p:cNvPr>
            <p:cNvSpPr txBox="1"/>
            <p:nvPr/>
          </p:nvSpPr>
          <p:spPr>
            <a:xfrm>
              <a:off x="45445" y="4743830"/>
              <a:ext cx="878357" cy="324873"/>
            </a:xfrm>
            <a:prstGeom prst="rect">
              <a:avLst/>
            </a:prstGeom>
            <a:noFill/>
            <a:ln>
              <a:noFill/>
            </a:ln>
          </p:spPr>
          <p:txBody>
            <a:bodyPr wrap="square" lIns="0" tIns="0" rIns="0" bIns="0" rtlCol="0" anchor="ctr" anchorCtr="0">
              <a:spAutoFit/>
            </a:bodyPr>
            <a:lstStyle/>
            <a:p>
              <a:pPr algn="ctr">
                <a:defRPr/>
              </a:pPr>
              <a:r>
                <a:rPr lang="en-US" sz="900" kern="0" dirty="0">
                  <a:solidFill>
                    <a:srgbClr val="000000"/>
                  </a:solidFill>
                  <a:latin typeface="Calibri"/>
                  <a:ea typeface="ＭＳ Ｐゴシック" charset="0"/>
                </a:rPr>
                <a:t>Employed</a:t>
              </a:r>
            </a:p>
            <a:p>
              <a:pPr algn="ctr">
                <a:defRPr/>
              </a:pPr>
              <a:r>
                <a:rPr lang="en-US" sz="900" kern="0" dirty="0">
                  <a:solidFill>
                    <a:srgbClr val="000000"/>
                  </a:solidFill>
                  <a:latin typeface="Calibri"/>
                  <a:ea typeface="ＭＳ Ｐゴシック" charset="0"/>
                </a:rPr>
                <a:t>Clinician</a:t>
              </a:r>
            </a:p>
          </p:txBody>
        </p:sp>
      </p:grpSp>
      <p:sp>
        <p:nvSpPr>
          <p:cNvPr id="13" name="Rectangle: Rounded Corners 12">
            <a:extLst>
              <a:ext uri="{FF2B5EF4-FFF2-40B4-BE49-F238E27FC236}">
                <a16:creationId xmlns:a16="http://schemas.microsoft.com/office/drawing/2014/main" id="{AD17F894-F8F0-4C6E-BD82-9A2B45151311}"/>
              </a:ext>
            </a:extLst>
          </p:cNvPr>
          <p:cNvSpPr/>
          <p:nvPr/>
        </p:nvSpPr>
        <p:spPr>
          <a:xfrm>
            <a:off x="668131" y="3909465"/>
            <a:ext cx="1244617" cy="716382"/>
          </a:xfrm>
          <a:prstGeom prst="roundRect">
            <a:avLst/>
          </a:prstGeom>
          <a:noFill/>
          <a:ln>
            <a:solidFill>
              <a:srgbClr val="064E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pic>
        <p:nvPicPr>
          <p:cNvPr id="14" name="Picture 8" descr="Image result for Availity">
            <a:extLst>
              <a:ext uri="{FF2B5EF4-FFF2-40B4-BE49-F238E27FC236}">
                <a16:creationId xmlns:a16="http://schemas.microsoft.com/office/drawing/2014/main" id="{F0B41239-524F-46A2-BA23-7466784E8992}"/>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860177" y="3937958"/>
            <a:ext cx="860919" cy="247261"/>
          </a:xfrm>
          <a:prstGeom prst="rect">
            <a:avLst/>
          </a:prstGeom>
          <a:noFill/>
          <a:extLst>
            <a:ext uri="{909E8E84-426E-40DD-AFC4-6F175D3DCCD1}">
              <a14:hiddenFill xmlns:a14="http://schemas.microsoft.com/office/drawing/2010/main">
                <a:solidFill>
                  <a:srgbClr val="FFFFFF"/>
                </a:solidFill>
              </a14:hiddenFill>
            </a:ext>
          </a:extLst>
        </p:spPr>
      </p:pic>
      <p:grpSp>
        <p:nvGrpSpPr>
          <p:cNvPr id="22" name="Group 21">
            <a:extLst>
              <a:ext uri="{FF2B5EF4-FFF2-40B4-BE49-F238E27FC236}">
                <a16:creationId xmlns:a16="http://schemas.microsoft.com/office/drawing/2014/main" id="{2C4688AF-8721-442F-BFA0-C9CC09AB2DF5}"/>
              </a:ext>
            </a:extLst>
          </p:cNvPr>
          <p:cNvGrpSpPr/>
          <p:nvPr/>
        </p:nvGrpSpPr>
        <p:grpSpPr>
          <a:xfrm>
            <a:off x="670195" y="5353210"/>
            <a:ext cx="1383422" cy="1235223"/>
            <a:chOff x="877434" y="3626135"/>
            <a:chExt cx="1363027" cy="644354"/>
          </a:xfrm>
        </p:grpSpPr>
        <p:sp>
          <p:nvSpPr>
            <p:cNvPr id="19" name="Rectangle: Rounded Corners 18">
              <a:extLst>
                <a:ext uri="{FF2B5EF4-FFF2-40B4-BE49-F238E27FC236}">
                  <a16:creationId xmlns:a16="http://schemas.microsoft.com/office/drawing/2014/main" id="{ACE9CE94-9F9C-43ED-99A9-A2F7A8726F0A}"/>
                </a:ext>
              </a:extLst>
            </p:cNvPr>
            <p:cNvSpPr/>
            <p:nvPr/>
          </p:nvSpPr>
          <p:spPr>
            <a:xfrm>
              <a:off x="877434" y="3626135"/>
              <a:ext cx="1244617" cy="644354"/>
            </a:xfrm>
            <a:prstGeom prst="roundRect">
              <a:avLst/>
            </a:prstGeom>
            <a:noFill/>
            <a:ln>
              <a:solidFill>
                <a:srgbClr val="064E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21" name="TextBox 20">
              <a:extLst>
                <a:ext uri="{FF2B5EF4-FFF2-40B4-BE49-F238E27FC236}">
                  <a16:creationId xmlns:a16="http://schemas.microsoft.com/office/drawing/2014/main" id="{7F673FCC-14B3-4853-8586-FC09C88F764A}"/>
                </a:ext>
              </a:extLst>
            </p:cNvPr>
            <p:cNvSpPr txBox="1"/>
            <p:nvPr/>
          </p:nvSpPr>
          <p:spPr>
            <a:xfrm>
              <a:off x="957566" y="3653311"/>
              <a:ext cx="1282895" cy="419841"/>
            </a:xfrm>
            <a:prstGeom prst="rect">
              <a:avLst/>
            </a:prstGeom>
            <a:noFill/>
          </p:spPr>
          <p:txBody>
            <a:bodyPr wrap="none" lIns="0" tIns="0" rIns="0" bIns="0" rtlCol="0">
              <a:noAutofit/>
            </a:bodyPr>
            <a:lstStyle/>
            <a:p>
              <a:pPr defTabSz="456758" fontAlgn="base"/>
              <a:r>
                <a:rPr lang="en-US" sz="1200" dirty="0">
                  <a:solidFill>
                    <a:schemeClr val="tx2"/>
                  </a:solidFill>
                  <a:latin typeface="Open Sans Light"/>
                  <a:cs typeface="Open Sans Light"/>
                </a:rPr>
                <a:t>Other Provider</a:t>
              </a:r>
            </a:p>
            <a:p>
              <a:pPr defTabSz="456758" fontAlgn="base"/>
              <a:r>
                <a:rPr lang="en-US" sz="1200" dirty="0">
                  <a:solidFill>
                    <a:schemeClr val="tx2"/>
                  </a:solidFill>
                  <a:latin typeface="Open Sans Light"/>
                  <a:cs typeface="Open Sans Light"/>
                </a:rPr>
                <a:t>Systems </a:t>
              </a:r>
            </a:p>
          </p:txBody>
        </p:sp>
      </p:grpSp>
      <p:sp>
        <p:nvSpPr>
          <p:cNvPr id="27" name="Rectangle: Rounded Corners 26">
            <a:extLst>
              <a:ext uri="{FF2B5EF4-FFF2-40B4-BE49-F238E27FC236}">
                <a16:creationId xmlns:a16="http://schemas.microsoft.com/office/drawing/2014/main" id="{042C77DD-BAFA-4381-8E7A-22B330244ED3}"/>
              </a:ext>
            </a:extLst>
          </p:cNvPr>
          <p:cNvSpPr/>
          <p:nvPr/>
        </p:nvSpPr>
        <p:spPr>
          <a:xfrm rot="16153053">
            <a:off x="1719457" y="3072059"/>
            <a:ext cx="4531814" cy="1757619"/>
          </a:xfrm>
          <a:prstGeom prst="roundRect">
            <a:avLst/>
          </a:prstGeom>
          <a:noFill/>
          <a:ln w="38100" cap="flat" cmpd="sng" algn="ctr">
            <a:solidFill>
              <a:srgbClr val="064E69"/>
            </a:solidFill>
            <a:prstDash val="solid"/>
          </a:ln>
          <a:effectLst/>
        </p:spPr>
        <p:txBody>
          <a:bodyPr rtlCol="0" anchor="ctr" anchorCtr="0"/>
          <a:lstStyle/>
          <a:p>
            <a:pPr algn="ctr" fontAlgn="base">
              <a:spcBef>
                <a:spcPct val="0"/>
              </a:spcBef>
              <a:spcAft>
                <a:spcPct val="0"/>
              </a:spcAft>
              <a:defRPr/>
            </a:pPr>
            <a:endParaRPr lang="en-US" b="1" kern="0" dirty="0">
              <a:solidFill>
                <a:srgbClr val="000000"/>
              </a:solidFill>
              <a:latin typeface="Calibri"/>
            </a:endParaRPr>
          </a:p>
        </p:txBody>
      </p:sp>
      <p:sp>
        <p:nvSpPr>
          <p:cNvPr id="30" name="TextBox 29">
            <a:extLst>
              <a:ext uri="{FF2B5EF4-FFF2-40B4-BE49-F238E27FC236}">
                <a16:creationId xmlns:a16="http://schemas.microsoft.com/office/drawing/2014/main" id="{88B24926-72A9-4643-AEA4-0D068E06299F}"/>
              </a:ext>
            </a:extLst>
          </p:cNvPr>
          <p:cNvSpPr txBox="1"/>
          <p:nvPr/>
        </p:nvSpPr>
        <p:spPr>
          <a:xfrm rot="16157369">
            <a:off x="2313346" y="3654938"/>
            <a:ext cx="1407105" cy="374609"/>
          </a:xfrm>
          <a:prstGeom prst="rect">
            <a:avLst/>
          </a:prstGeom>
          <a:noFill/>
        </p:spPr>
        <p:txBody>
          <a:bodyPr wrap="none" lIns="0" tIns="0" rIns="0" bIns="0" rtlCol="0">
            <a:noAutofit/>
          </a:bodyPr>
          <a:lstStyle/>
          <a:p>
            <a:pPr defTabSz="456758" fontAlgn="base">
              <a:spcBef>
                <a:spcPts val="1200"/>
              </a:spcBef>
            </a:pPr>
            <a:r>
              <a:rPr lang="en-US" dirty="0">
                <a:latin typeface="Open Sans Light"/>
                <a:cs typeface="Open Sans Light"/>
              </a:rPr>
              <a:t>Exposed APIs </a:t>
            </a:r>
          </a:p>
        </p:txBody>
      </p:sp>
      <p:sp>
        <p:nvSpPr>
          <p:cNvPr id="31" name="Oval 30">
            <a:extLst>
              <a:ext uri="{FF2B5EF4-FFF2-40B4-BE49-F238E27FC236}">
                <a16:creationId xmlns:a16="http://schemas.microsoft.com/office/drawing/2014/main" id="{02A4A6AD-98E8-4209-850F-FF0091A52B3E}"/>
              </a:ext>
            </a:extLst>
          </p:cNvPr>
          <p:cNvSpPr/>
          <p:nvPr/>
        </p:nvSpPr>
        <p:spPr>
          <a:xfrm>
            <a:off x="3053064" y="1729516"/>
            <a:ext cx="1788654" cy="634288"/>
          </a:xfrm>
          <a:prstGeom prst="ellipse">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Authorization / Authentication</a:t>
            </a:r>
          </a:p>
        </p:txBody>
      </p:sp>
      <p:sp>
        <p:nvSpPr>
          <p:cNvPr id="32" name="Oval 31">
            <a:extLst>
              <a:ext uri="{FF2B5EF4-FFF2-40B4-BE49-F238E27FC236}">
                <a16:creationId xmlns:a16="http://schemas.microsoft.com/office/drawing/2014/main" id="{BFC40EE2-E9F3-4933-8FCD-CFF4842FEA27}"/>
              </a:ext>
            </a:extLst>
          </p:cNvPr>
          <p:cNvSpPr/>
          <p:nvPr/>
        </p:nvSpPr>
        <p:spPr>
          <a:xfrm>
            <a:off x="3091186" y="3013247"/>
            <a:ext cx="1768854" cy="634288"/>
          </a:xfrm>
          <a:prstGeom prst="ellipse">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Clinical Data</a:t>
            </a:r>
          </a:p>
        </p:txBody>
      </p:sp>
      <p:sp>
        <p:nvSpPr>
          <p:cNvPr id="33" name="Oval 32">
            <a:extLst>
              <a:ext uri="{FF2B5EF4-FFF2-40B4-BE49-F238E27FC236}">
                <a16:creationId xmlns:a16="http://schemas.microsoft.com/office/drawing/2014/main" id="{7D6F9414-F6FA-4DDF-81B1-54909FD03383}"/>
              </a:ext>
            </a:extLst>
          </p:cNvPr>
          <p:cNvSpPr/>
          <p:nvPr/>
        </p:nvSpPr>
        <p:spPr>
          <a:xfrm>
            <a:off x="3175512" y="4845849"/>
            <a:ext cx="1642419" cy="634288"/>
          </a:xfrm>
          <a:prstGeom prst="ellipse">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Report &amp; dashboard</a:t>
            </a:r>
          </a:p>
        </p:txBody>
      </p:sp>
      <p:sp>
        <p:nvSpPr>
          <p:cNvPr id="35" name="TextBox 34">
            <a:extLst>
              <a:ext uri="{FF2B5EF4-FFF2-40B4-BE49-F238E27FC236}">
                <a16:creationId xmlns:a16="http://schemas.microsoft.com/office/drawing/2014/main" id="{B5CA02F4-480E-4CB0-ADE7-FF04536F1678}"/>
              </a:ext>
            </a:extLst>
          </p:cNvPr>
          <p:cNvSpPr txBox="1"/>
          <p:nvPr/>
        </p:nvSpPr>
        <p:spPr>
          <a:xfrm rot="16157369">
            <a:off x="5060305" y="3624881"/>
            <a:ext cx="1459179" cy="374609"/>
          </a:xfrm>
          <a:prstGeom prst="rect">
            <a:avLst/>
          </a:prstGeom>
          <a:noFill/>
        </p:spPr>
        <p:txBody>
          <a:bodyPr wrap="none" lIns="0" tIns="0" rIns="0" bIns="0" rtlCol="0">
            <a:noAutofit/>
          </a:bodyPr>
          <a:lstStyle/>
          <a:p>
            <a:pPr defTabSz="456758" fontAlgn="base">
              <a:spcBef>
                <a:spcPts val="1200"/>
              </a:spcBef>
            </a:pPr>
            <a:r>
              <a:rPr lang="en-US" dirty="0">
                <a:latin typeface="Open Sans Light"/>
                <a:cs typeface="Open Sans Light"/>
              </a:rPr>
              <a:t>Data Rules</a:t>
            </a:r>
          </a:p>
        </p:txBody>
      </p:sp>
      <p:grpSp>
        <p:nvGrpSpPr>
          <p:cNvPr id="67" name="Group 66">
            <a:extLst>
              <a:ext uri="{FF2B5EF4-FFF2-40B4-BE49-F238E27FC236}">
                <a16:creationId xmlns:a16="http://schemas.microsoft.com/office/drawing/2014/main" id="{04205008-330D-4132-806F-56EDE66FDF90}"/>
              </a:ext>
            </a:extLst>
          </p:cNvPr>
          <p:cNvGrpSpPr/>
          <p:nvPr/>
        </p:nvGrpSpPr>
        <p:grpSpPr>
          <a:xfrm>
            <a:off x="5892671" y="1637461"/>
            <a:ext cx="1411470" cy="4591104"/>
            <a:chOff x="5381334" y="1576595"/>
            <a:chExt cx="1411470" cy="4863179"/>
          </a:xfrm>
        </p:grpSpPr>
        <p:sp>
          <p:nvSpPr>
            <p:cNvPr id="34" name="Rectangle: Rounded Corners 33">
              <a:extLst>
                <a:ext uri="{FF2B5EF4-FFF2-40B4-BE49-F238E27FC236}">
                  <a16:creationId xmlns:a16="http://schemas.microsoft.com/office/drawing/2014/main" id="{72CF6974-0A67-49F0-887F-57FBCF815C6D}"/>
                </a:ext>
              </a:extLst>
            </p:cNvPr>
            <p:cNvSpPr/>
            <p:nvPr/>
          </p:nvSpPr>
          <p:spPr>
            <a:xfrm rot="16153053">
              <a:off x="3655479" y="3302450"/>
              <a:ext cx="4863179" cy="1411470"/>
            </a:xfrm>
            <a:prstGeom prst="roundRect">
              <a:avLst/>
            </a:prstGeom>
            <a:noFill/>
            <a:ln w="38100" cap="flat" cmpd="sng" algn="ctr">
              <a:solidFill>
                <a:srgbClr val="064E69"/>
              </a:solidFill>
              <a:prstDash val="solid"/>
            </a:ln>
            <a:effectLst/>
          </p:spPr>
          <p:txBody>
            <a:bodyPr rtlCol="0" anchor="ctr" anchorCtr="0"/>
            <a:lstStyle/>
            <a:p>
              <a:pPr algn="ctr" fontAlgn="base">
                <a:spcBef>
                  <a:spcPct val="0"/>
                </a:spcBef>
                <a:spcAft>
                  <a:spcPct val="0"/>
                </a:spcAft>
                <a:defRPr/>
              </a:pPr>
              <a:endParaRPr lang="en-US" b="1" kern="0" dirty="0">
                <a:solidFill>
                  <a:schemeClr val="bg1"/>
                </a:solidFill>
                <a:latin typeface="Calibri"/>
              </a:endParaRPr>
            </a:p>
          </p:txBody>
        </p:sp>
        <p:sp>
          <p:nvSpPr>
            <p:cNvPr id="36" name="Rectangle: Rounded Corners 35">
              <a:extLst>
                <a:ext uri="{FF2B5EF4-FFF2-40B4-BE49-F238E27FC236}">
                  <a16:creationId xmlns:a16="http://schemas.microsoft.com/office/drawing/2014/main" id="{72CAA1A4-DEB5-4C53-AB01-2DF010DA5B27}"/>
                </a:ext>
              </a:extLst>
            </p:cNvPr>
            <p:cNvSpPr/>
            <p:nvPr/>
          </p:nvSpPr>
          <p:spPr>
            <a:xfrm>
              <a:off x="5421131" y="2985199"/>
              <a:ext cx="1246986" cy="549979"/>
            </a:xfrm>
            <a:prstGeom prst="roundRect">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Clinical data lookup</a:t>
              </a:r>
            </a:p>
          </p:txBody>
        </p:sp>
        <p:sp>
          <p:nvSpPr>
            <p:cNvPr id="38" name="Rectangle: Rounded Corners 37">
              <a:extLst>
                <a:ext uri="{FF2B5EF4-FFF2-40B4-BE49-F238E27FC236}">
                  <a16:creationId xmlns:a16="http://schemas.microsoft.com/office/drawing/2014/main" id="{A2AD82EB-138F-4BA5-B683-6A3546DAB9D2}"/>
                </a:ext>
              </a:extLst>
            </p:cNvPr>
            <p:cNvSpPr/>
            <p:nvPr/>
          </p:nvSpPr>
          <p:spPr>
            <a:xfrm>
              <a:off x="5501984" y="5197922"/>
              <a:ext cx="1214817" cy="549979"/>
            </a:xfrm>
            <a:prstGeom prst="roundRect">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Trends &amp; Metrics</a:t>
              </a:r>
            </a:p>
          </p:txBody>
        </p:sp>
        <p:sp>
          <p:nvSpPr>
            <p:cNvPr id="39" name="Rectangle: Rounded Corners 38">
              <a:extLst>
                <a:ext uri="{FF2B5EF4-FFF2-40B4-BE49-F238E27FC236}">
                  <a16:creationId xmlns:a16="http://schemas.microsoft.com/office/drawing/2014/main" id="{7B736BD4-6F71-4231-9E0B-DDE072D33F2F}"/>
                </a:ext>
              </a:extLst>
            </p:cNvPr>
            <p:cNvSpPr/>
            <p:nvPr/>
          </p:nvSpPr>
          <p:spPr>
            <a:xfrm>
              <a:off x="5394984" y="1677677"/>
              <a:ext cx="1306832" cy="549979"/>
            </a:xfrm>
            <a:prstGeom prst="roundRect">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Authorization/Authentication Rules</a:t>
              </a:r>
            </a:p>
          </p:txBody>
        </p:sp>
        <p:sp>
          <p:nvSpPr>
            <p:cNvPr id="40" name="Rectangle: Rounded Corners 39">
              <a:extLst>
                <a:ext uri="{FF2B5EF4-FFF2-40B4-BE49-F238E27FC236}">
                  <a16:creationId xmlns:a16="http://schemas.microsoft.com/office/drawing/2014/main" id="{C7AE9763-914C-4D7B-8B34-C88F69E0E02E}"/>
                </a:ext>
              </a:extLst>
            </p:cNvPr>
            <p:cNvSpPr/>
            <p:nvPr/>
          </p:nvSpPr>
          <p:spPr>
            <a:xfrm>
              <a:off x="5528580" y="5825449"/>
              <a:ext cx="1135911" cy="549979"/>
            </a:xfrm>
            <a:prstGeom prst="roundRect">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Insights</a:t>
              </a:r>
            </a:p>
          </p:txBody>
        </p:sp>
      </p:grpSp>
      <p:sp>
        <p:nvSpPr>
          <p:cNvPr id="48" name="Rectangle: Rounded Corners 47">
            <a:extLst>
              <a:ext uri="{FF2B5EF4-FFF2-40B4-BE49-F238E27FC236}">
                <a16:creationId xmlns:a16="http://schemas.microsoft.com/office/drawing/2014/main" id="{FA4D2A25-9031-4332-AF6A-817FED909DB0}"/>
              </a:ext>
            </a:extLst>
          </p:cNvPr>
          <p:cNvSpPr/>
          <p:nvPr/>
        </p:nvSpPr>
        <p:spPr>
          <a:xfrm rot="16200000">
            <a:off x="6700801" y="2574578"/>
            <a:ext cx="5856235" cy="2278738"/>
          </a:xfrm>
          <a:prstGeom prst="roundRect">
            <a:avLst/>
          </a:prstGeom>
          <a:noFill/>
          <a:ln w="38100" cap="flat" cmpd="sng" algn="ctr">
            <a:solidFill>
              <a:srgbClr val="064E69"/>
            </a:solidFill>
            <a:prstDash val="solid"/>
          </a:ln>
          <a:effectLst/>
        </p:spPr>
        <p:txBody>
          <a:bodyPr rtlCol="0" anchor="ctr" anchorCtr="0"/>
          <a:lstStyle/>
          <a:p>
            <a:pPr algn="ctr" fontAlgn="base">
              <a:spcBef>
                <a:spcPct val="0"/>
              </a:spcBef>
              <a:spcAft>
                <a:spcPct val="0"/>
              </a:spcAft>
              <a:defRPr/>
            </a:pPr>
            <a:endParaRPr lang="en-US" b="1" kern="0" dirty="0">
              <a:solidFill>
                <a:srgbClr val="000000"/>
              </a:solidFill>
              <a:latin typeface="Calibri"/>
            </a:endParaRPr>
          </a:p>
        </p:txBody>
      </p:sp>
      <p:sp>
        <p:nvSpPr>
          <p:cNvPr id="56" name="Oval 55">
            <a:extLst>
              <a:ext uri="{FF2B5EF4-FFF2-40B4-BE49-F238E27FC236}">
                <a16:creationId xmlns:a16="http://schemas.microsoft.com/office/drawing/2014/main" id="{FD96D97E-3CA4-425C-9C21-2D363DA49130}"/>
              </a:ext>
            </a:extLst>
          </p:cNvPr>
          <p:cNvSpPr/>
          <p:nvPr/>
        </p:nvSpPr>
        <p:spPr>
          <a:xfrm>
            <a:off x="3162245" y="5512410"/>
            <a:ext cx="1642419" cy="634288"/>
          </a:xfrm>
          <a:prstGeom prst="ellipse">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Stratification/Gaps/Alerts</a:t>
            </a:r>
          </a:p>
        </p:txBody>
      </p:sp>
      <p:grpSp>
        <p:nvGrpSpPr>
          <p:cNvPr id="57" name="Group 56">
            <a:extLst>
              <a:ext uri="{FF2B5EF4-FFF2-40B4-BE49-F238E27FC236}">
                <a16:creationId xmlns:a16="http://schemas.microsoft.com/office/drawing/2014/main" id="{D1B9E22D-FA0B-4D22-9F5A-481FF37C6647}"/>
              </a:ext>
            </a:extLst>
          </p:cNvPr>
          <p:cNvGrpSpPr/>
          <p:nvPr/>
        </p:nvGrpSpPr>
        <p:grpSpPr>
          <a:xfrm>
            <a:off x="935379" y="1065253"/>
            <a:ext cx="519816" cy="647733"/>
            <a:chOff x="212407" y="1810135"/>
            <a:chExt cx="569821" cy="777606"/>
          </a:xfrm>
        </p:grpSpPr>
        <p:pic>
          <p:nvPicPr>
            <p:cNvPr id="58" name="Picture 7" descr="C:\Gioia Files\Weebles\Weeble Mania\j0432623.png">
              <a:extLst>
                <a:ext uri="{FF2B5EF4-FFF2-40B4-BE49-F238E27FC236}">
                  <a16:creationId xmlns:a16="http://schemas.microsoft.com/office/drawing/2014/main" id="{208D4314-4C5B-4CC5-B012-8792F00810C4}"/>
                </a:ext>
              </a:extLst>
            </p:cNvPr>
            <p:cNvPicPr>
              <a:picLocks noChangeAspect="1" noChangeArrowheads="1"/>
            </p:cNvPicPr>
            <p:nvPr/>
          </p:nvPicPr>
          <p:blipFill>
            <a:blip r:embed="rId5" cstate="print"/>
            <a:srcRect/>
            <a:stretch>
              <a:fillRect/>
            </a:stretch>
          </p:blipFill>
          <p:spPr bwMode="auto">
            <a:xfrm flipH="1">
              <a:off x="255586" y="1810135"/>
              <a:ext cx="496015" cy="496015"/>
            </a:xfrm>
            <a:prstGeom prst="rect">
              <a:avLst/>
            </a:prstGeom>
            <a:noFill/>
            <a:ln>
              <a:noFill/>
            </a:ln>
          </p:spPr>
        </p:pic>
        <p:sp>
          <p:nvSpPr>
            <p:cNvPr id="59" name="TextBox 58">
              <a:extLst>
                <a:ext uri="{FF2B5EF4-FFF2-40B4-BE49-F238E27FC236}">
                  <a16:creationId xmlns:a16="http://schemas.microsoft.com/office/drawing/2014/main" id="{F8281D07-FB84-4DCC-A22C-103EF3479346}"/>
                </a:ext>
              </a:extLst>
            </p:cNvPr>
            <p:cNvSpPr txBox="1"/>
            <p:nvPr/>
          </p:nvSpPr>
          <p:spPr>
            <a:xfrm>
              <a:off x="212407" y="2255202"/>
              <a:ext cx="569821" cy="332539"/>
            </a:xfrm>
            <a:prstGeom prst="rect">
              <a:avLst/>
            </a:prstGeom>
            <a:noFill/>
            <a:ln>
              <a:noFill/>
            </a:ln>
          </p:spPr>
          <p:txBody>
            <a:bodyPr wrap="square" lIns="0" tIns="0" rIns="0" bIns="0" rtlCol="0" anchor="ctr" anchorCtr="0">
              <a:spAutoFit/>
            </a:bodyPr>
            <a:lstStyle/>
            <a:p>
              <a:pPr algn="ctr">
                <a:defRPr/>
              </a:pPr>
              <a:r>
                <a:rPr lang="en-US" sz="900" kern="0" dirty="0">
                  <a:solidFill>
                    <a:srgbClr val="000000"/>
                  </a:solidFill>
                  <a:latin typeface="Calibri"/>
                  <a:ea typeface="ＭＳ Ｐゴシック" charset="0"/>
                </a:rPr>
                <a:t>Member/</a:t>
              </a:r>
            </a:p>
            <a:p>
              <a:pPr algn="ctr">
                <a:defRPr/>
              </a:pPr>
              <a:r>
                <a:rPr lang="en-US" sz="900" kern="0" dirty="0">
                  <a:solidFill>
                    <a:srgbClr val="000000"/>
                  </a:solidFill>
                  <a:latin typeface="Calibri"/>
                  <a:ea typeface="ＭＳ Ｐゴシック" charset="0"/>
                </a:rPr>
                <a:t>Patient</a:t>
              </a:r>
            </a:p>
          </p:txBody>
        </p:sp>
      </p:grpSp>
      <p:sp>
        <p:nvSpPr>
          <p:cNvPr id="60" name="Arrow: Right 59">
            <a:extLst>
              <a:ext uri="{FF2B5EF4-FFF2-40B4-BE49-F238E27FC236}">
                <a16:creationId xmlns:a16="http://schemas.microsoft.com/office/drawing/2014/main" id="{61EC0798-758D-4087-AF54-11E90C22BDD2}"/>
              </a:ext>
            </a:extLst>
          </p:cNvPr>
          <p:cNvSpPr/>
          <p:nvPr/>
        </p:nvSpPr>
        <p:spPr>
          <a:xfrm>
            <a:off x="2066270" y="3270832"/>
            <a:ext cx="688832" cy="433520"/>
          </a:xfrm>
          <a:prstGeom prst="rightArrow">
            <a:avLst/>
          </a:prstGeom>
          <a:solidFill>
            <a:srgbClr val="064E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61" name="Arrow: Right 60">
            <a:extLst>
              <a:ext uri="{FF2B5EF4-FFF2-40B4-BE49-F238E27FC236}">
                <a16:creationId xmlns:a16="http://schemas.microsoft.com/office/drawing/2014/main" id="{08EB3A68-CDF8-4E76-90A4-E9DB25487CF5}"/>
              </a:ext>
            </a:extLst>
          </p:cNvPr>
          <p:cNvSpPr/>
          <p:nvPr/>
        </p:nvSpPr>
        <p:spPr>
          <a:xfrm>
            <a:off x="7365117" y="3454419"/>
            <a:ext cx="688832" cy="433520"/>
          </a:xfrm>
          <a:prstGeom prst="rightArrow">
            <a:avLst/>
          </a:prstGeom>
          <a:solidFill>
            <a:srgbClr val="064E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62" name="Arrow: Right 61">
            <a:extLst>
              <a:ext uri="{FF2B5EF4-FFF2-40B4-BE49-F238E27FC236}">
                <a16:creationId xmlns:a16="http://schemas.microsoft.com/office/drawing/2014/main" id="{9CB81271-9D07-40C7-9EA7-A060221AEF0D}"/>
              </a:ext>
            </a:extLst>
          </p:cNvPr>
          <p:cNvSpPr/>
          <p:nvPr/>
        </p:nvSpPr>
        <p:spPr>
          <a:xfrm rot="10800000">
            <a:off x="2074707" y="4051715"/>
            <a:ext cx="688832" cy="433520"/>
          </a:xfrm>
          <a:prstGeom prst="rightArrow">
            <a:avLst/>
          </a:prstGeom>
          <a:solidFill>
            <a:srgbClr val="064E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63" name="Arrow: Right 62">
            <a:extLst>
              <a:ext uri="{FF2B5EF4-FFF2-40B4-BE49-F238E27FC236}">
                <a16:creationId xmlns:a16="http://schemas.microsoft.com/office/drawing/2014/main" id="{09DDC254-3DB6-418E-A148-3E523A07DB69}"/>
              </a:ext>
            </a:extLst>
          </p:cNvPr>
          <p:cNvSpPr/>
          <p:nvPr/>
        </p:nvSpPr>
        <p:spPr>
          <a:xfrm rot="10800000">
            <a:off x="7365117" y="4158943"/>
            <a:ext cx="688832" cy="433520"/>
          </a:xfrm>
          <a:prstGeom prst="rightArrow">
            <a:avLst/>
          </a:prstGeom>
          <a:solidFill>
            <a:srgbClr val="064E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69" name="Arrow: Right 68">
            <a:extLst>
              <a:ext uri="{FF2B5EF4-FFF2-40B4-BE49-F238E27FC236}">
                <a16:creationId xmlns:a16="http://schemas.microsoft.com/office/drawing/2014/main" id="{858F2300-D334-45EB-9CF8-E46F66400379}"/>
              </a:ext>
            </a:extLst>
          </p:cNvPr>
          <p:cNvSpPr/>
          <p:nvPr/>
        </p:nvSpPr>
        <p:spPr>
          <a:xfrm rot="10800000">
            <a:off x="4875671" y="4121880"/>
            <a:ext cx="688832" cy="433520"/>
          </a:xfrm>
          <a:prstGeom prst="rightArrow">
            <a:avLst/>
          </a:prstGeom>
          <a:solidFill>
            <a:srgbClr val="064E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70" name="Arrow: Right 69">
            <a:extLst>
              <a:ext uri="{FF2B5EF4-FFF2-40B4-BE49-F238E27FC236}">
                <a16:creationId xmlns:a16="http://schemas.microsoft.com/office/drawing/2014/main" id="{1A319A68-9BA6-45C8-A073-2105D21257CD}"/>
              </a:ext>
            </a:extLst>
          </p:cNvPr>
          <p:cNvSpPr/>
          <p:nvPr/>
        </p:nvSpPr>
        <p:spPr>
          <a:xfrm>
            <a:off x="4907966" y="3324545"/>
            <a:ext cx="688832" cy="433520"/>
          </a:xfrm>
          <a:prstGeom prst="rightArrow">
            <a:avLst/>
          </a:prstGeom>
          <a:solidFill>
            <a:srgbClr val="064E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81" name="Rectangle: Rounded Corners 80">
            <a:extLst>
              <a:ext uri="{FF2B5EF4-FFF2-40B4-BE49-F238E27FC236}">
                <a16:creationId xmlns:a16="http://schemas.microsoft.com/office/drawing/2014/main" id="{BEA40FAB-0C46-4393-95A6-2A7E2C907DC9}"/>
              </a:ext>
            </a:extLst>
          </p:cNvPr>
          <p:cNvSpPr/>
          <p:nvPr/>
        </p:nvSpPr>
        <p:spPr>
          <a:xfrm>
            <a:off x="5916905" y="2316327"/>
            <a:ext cx="1306832" cy="519210"/>
          </a:xfrm>
          <a:prstGeom prst="roundRect">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Provider/Member Preference look-up</a:t>
            </a:r>
          </a:p>
        </p:txBody>
      </p:sp>
      <p:sp>
        <p:nvSpPr>
          <p:cNvPr id="84" name="Oval 83">
            <a:extLst>
              <a:ext uri="{FF2B5EF4-FFF2-40B4-BE49-F238E27FC236}">
                <a16:creationId xmlns:a16="http://schemas.microsoft.com/office/drawing/2014/main" id="{41F058AB-CBB1-4BE8-988A-F48384C3F5A8}"/>
              </a:ext>
            </a:extLst>
          </p:cNvPr>
          <p:cNvSpPr/>
          <p:nvPr/>
        </p:nvSpPr>
        <p:spPr>
          <a:xfrm>
            <a:off x="3068503" y="2396077"/>
            <a:ext cx="1788654" cy="634288"/>
          </a:xfrm>
          <a:prstGeom prst="ellipse">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Provider/Member Preference </a:t>
            </a:r>
          </a:p>
        </p:txBody>
      </p:sp>
      <p:sp>
        <p:nvSpPr>
          <p:cNvPr id="78" name="TextBox 77">
            <a:extLst>
              <a:ext uri="{FF2B5EF4-FFF2-40B4-BE49-F238E27FC236}">
                <a16:creationId xmlns:a16="http://schemas.microsoft.com/office/drawing/2014/main" id="{316CF42B-85F4-4442-BAFE-E1657404D557}"/>
              </a:ext>
            </a:extLst>
          </p:cNvPr>
          <p:cNvSpPr txBox="1"/>
          <p:nvPr/>
        </p:nvSpPr>
        <p:spPr>
          <a:xfrm rot="16157369">
            <a:off x="6278964" y="3538637"/>
            <a:ext cx="4202902" cy="374609"/>
          </a:xfrm>
          <a:prstGeom prst="rect">
            <a:avLst/>
          </a:prstGeom>
          <a:noFill/>
        </p:spPr>
        <p:txBody>
          <a:bodyPr wrap="none" lIns="0" tIns="0" rIns="0" bIns="0" rtlCol="0">
            <a:noAutofit/>
          </a:bodyPr>
          <a:lstStyle/>
          <a:p>
            <a:pPr defTabSz="456758" fontAlgn="base">
              <a:spcBef>
                <a:spcPts val="1200"/>
              </a:spcBef>
            </a:pPr>
            <a:r>
              <a:rPr lang="en-US" dirty="0">
                <a:latin typeface="Open Sans Light"/>
                <a:cs typeface="Open Sans Light"/>
              </a:rPr>
              <a:t>Delivery Platforms/Acquisition Services </a:t>
            </a:r>
          </a:p>
        </p:txBody>
      </p:sp>
      <p:sp>
        <p:nvSpPr>
          <p:cNvPr id="96" name="TextBox 95">
            <a:extLst>
              <a:ext uri="{FF2B5EF4-FFF2-40B4-BE49-F238E27FC236}">
                <a16:creationId xmlns:a16="http://schemas.microsoft.com/office/drawing/2014/main" id="{73E687B6-5889-485C-8F6B-B5FDDCFB14FF}"/>
              </a:ext>
            </a:extLst>
          </p:cNvPr>
          <p:cNvSpPr txBox="1"/>
          <p:nvPr/>
        </p:nvSpPr>
        <p:spPr>
          <a:xfrm>
            <a:off x="8706311" y="899566"/>
            <a:ext cx="2061975" cy="136596"/>
          </a:xfrm>
          <a:prstGeom prst="rect">
            <a:avLst/>
          </a:prstGeom>
          <a:noFill/>
        </p:spPr>
        <p:txBody>
          <a:bodyPr wrap="none" lIns="0" tIns="0" rIns="0" bIns="0" rtlCol="0">
            <a:noAutofit/>
          </a:bodyPr>
          <a:lstStyle/>
          <a:p>
            <a:pPr defTabSz="456758" fontAlgn="base"/>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Clinical Platform and UDF</a:t>
            </a:r>
            <a:endParaRPr lang="en-US" sz="1100" dirty="0">
              <a:solidFill>
                <a:schemeClr val="bg1"/>
              </a:solidFill>
              <a:latin typeface="Open Sans Light"/>
              <a:cs typeface="Open Sans Light"/>
            </a:endParaRPr>
          </a:p>
        </p:txBody>
      </p:sp>
      <p:pic>
        <p:nvPicPr>
          <p:cNvPr id="18" name="Picture 17">
            <a:extLst>
              <a:ext uri="{FF2B5EF4-FFF2-40B4-BE49-F238E27FC236}">
                <a16:creationId xmlns:a16="http://schemas.microsoft.com/office/drawing/2014/main" id="{63F81CE4-BB19-4072-9FD8-A68420D46ED2}"/>
              </a:ext>
            </a:extLst>
          </p:cNvPr>
          <p:cNvPicPr>
            <a:picLocks noChangeAspect="1"/>
          </p:cNvPicPr>
          <p:nvPr/>
        </p:nvPicPr>
        <p:blipFill>
          <a:blip r:embed="rId6"/>
          <a:stretch>
            <a:fillRect/>
          </a:stretch>
        </p:blipFill>
        <p:spPr>
          <a:xfrm>
            <a:off x="1047810" y="3350189"/>
            <a:ext cx="462905" cy="529422"/>
          </a:xfrm>
          <a:prstGeom prst="rect">
            <a:avLst/>
          </a:prstGeom>
          <a:noFill/>
        </p:spPr>
      </p:pic>
      <p:sp>
        <p:nvSpPr>
          <p:cNvPr id="106" name="Oval 105">
            <a:extLst>
              <a:ext uri="{FF2B5EF4-FFF2-40B4-BE49-F238E27FC236}">
                <a16:creationId xmlns:a16="http://schemas.microsoft.com/office/drawing/2014/main" id="{1E010D95-2778-4155-BEE3-CDD67EF77119}"/>
              </a:ext>
            </a:extLst>
          </p:cNvPr>
          <p:cNvSpPr/>
          <p:nvPr/>
        </p:nvSpPr>
        <p:spPr>
          <a:xfrm>
            <a:off x="3118580" y="4195425"/>
            <a:ext cx="1768854" cy="634288"/>
          </a:xfrm>
          <a:prstGeom prst="ellipse">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Administrative  Data</a:t>
            </a:r>
          </a:p>
        </p:txBody>
      </p:sp>
      <p:sp>
        <p:nvSpPr>
          <p:cNvPr id="107" name="Oval 106">
            <a:extLst>
              <a:ext uri="{FF2B5EF4-FFF2-40B4-BE49-F238E27FC236}">
                <a16:creationId xmlns:a16="http://schemas.microsoft.com/office/drawing/2014/main" id="{E2D73C6D-85E2-4EED-9DAB-841975502891}"/>
              </a:ext>
            </a:extLst>
          </p:cNvPr>
          <p:cNvSpPr/>
          <p:nvPr/>
        </p:nvSpPr>
        <p:spPr>
          <a:xfrm>
            <a:off x="3097132" y="3599561"/>
            <a:ext cx="1768854" cy="634288"/>
          </a:xfrm>
          <a:prstGeom prst="ellipse">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Provider  Data</a:t>
            </a:r>
          </a:p>
        </p:txBody>
      </p:sp>
      <p:sp>
        <p:nvSpPr>
          <p:cNvPr id="108" name="Rectangle: Rounded Corners 107">
            <a:extLst>
              <a:ext uri="{FF2B5EF4-FFF2-40B4-BE49-F238E27FC236}">
                <a16:creationId xmlns:a16="http://schemas.microsoft.com/office/drawing/2014/main" id="{578CF1B1-08AB-4168-A35B-BCF2E2191EAA}"/>
              </a:ext>
            </a:extLst>
          </p:cNvPr>
          <p:cNvSpPr/>
          <p:nvPr/>
        </p:nvSpPr>
        <p:spPr>
          <a:xfrm>
            <a:off x="5947634" y="3599538"/>
            <a:ext cx="1246986" cy="519210"/>
          </a:xfrm>
          <a:prstGeom prst="roundRect">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Provider data lookup</a:t>
            </a:r>
          </a:p>
        </p:txBody>
      </p:sp>
      <p:sp>
        <p:nvSpPr>
          <p:cNvPr id="109" name="Rectangle: Rounded Corners 108">
            <a:extLst>
              <a:ext uri="{FF2B5EF4-FFF2-40B4-BE49-F238E27FC236}">
                <a16:creationId xmlns:a16="http://schemas.microsoft.com/office/drawing/2014/main" id="{78738BBD-8FD5-4BF0-94C4-32B93CCDDB31}"/>
              </a:ext>
            </a:extLst>
          </p:cNvPr>
          <p:cNvSpPr/>
          <p:nvPr/>
        </p:nvSpPr>
        <p:spPr>
          <a:xfrm>
            <a:off x="5953674" y="4277158"/>
            <a:ext cx="1306832" cy="519210"/>
          </a:xfrm>
          <a:prstGeom prst="roundRect">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Administrative data lookup</a:t>
            </a:r>
          </a:p>
        </p:txBody>
      </p:sp>
      <p:grpSp>
        <p:nvGrpSpPr>
          <p:cNvPr id="130" name="Group 129">
            <a:extLst>
              <a:ext uri="{FF2B5EF4-FFF2-40B4-BE49-F238E27FC236}">
                <a16:creationId xmlns:a16="http://schemas.microsoft.com/office/drawing/2014/main" id="{3EDBA6A6-076C-4F9A-BBA4-89E831B67746}"/>
              </a:ext>
            </a:extLst>
          </p:cNvPr>
          <p:cNvGrpSpPr/>
          <p:nvPr/>
        </p:nvGrpSpPr>
        <p:grpSpPr>
          <a:xfrm>
            <a:off x="668908" y="1725201"/>
            <a:ext cx="1338105" cy="578396"/>
            <a:chOff x="672574" y="4197414"/>
            <a:chExt cx="1311983" cy="716782"/>
          </a:xfrm>
        </p:grpSpPr>
        <p:sp>
          <p:nvSpPr>
            <p:cNvPr id="131" name="Rectangle: Rounded Corners 130">
              <a:extLst>
                <a:ext uri="{FF2B5EF4-FFF2-40B4-BE49-F238E27FC236}">
                  <a16:creationId xmlns:a16="http://schemas.microsoft.com/office/drawing/2014/main" id="{E6E948CB-361B-4F59-9BD3-F661DCC32832}"/>
                </a:ext>
              </a:extLst>
            </p:cNvPr>
            <p:cNvSpPr/>
            <p:nvPr/>
          </p:nvSpPr>
          <p:spPr>
            <a:xfrm>
              <a:off x="672574" y="4197414"/>
              <a:ext cx="1244617" cy="716782"/>
            </a:xfrm>
            <a:prstGeom prst="roundRect">
              <a:avLst/>
            </a:prstGeom>
            <a:noFill/>
            <a:ln>
              <a:solidFill>
                <a:srgbClr val="064E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132" name="TextBox 131">
              <a:extLst>
                <a:ext uri="{FF2B5EF4-FFF2-40B4-BE49-F238E27FC236}">
                  <a16:creationId xmlns:a16="http://schemas.microsoft.com/office/drawing/2014/main" id="{215C7741-E846-43C9-B9CE-88F72011F5D3}"/>
                </a:ext>
              </a:extLst>
            </p:cNvPr>
            <p:cNvSpPr txBox="1"/>
            <p:nvPr/>
          </p:nvSpPr>
          <p:spPr>
            <a:xfrm>
              <a:off x="806702" y="4199311"/>
              <a:ext cx="1177855" cy="319758"/>
            </a:xfrm>
            <a:prstGeom prst="rect">
              <a:avLst/>
            </a:prstGeom>
            <a:noFill/>
          </p:spPr>
          <p:txBody>
            <a:bodyPr wrap="none" lIns="0" tIns="0" rIns="0" bIns="0" rtlCol="0">
              <a:noAutofit/>
            </a:bodyPr>
            <a:lstStyle/>
            <a:p>
              <a:pPr defTabSz="456758" fontAlgn="base"/>
              <a:endParaRPr lang="en-US" sz="1200" dirty="0">
                <a:latin typeface="Open Sans Light"/>
                <a:cs typeface="Open Sans Light"/>
              </a:endParaRPr>
            </a:p>
          </p:txBody>
        </p:sp>
      </p:grpSp>
      <p:pic>
        <p:nvPicPr>
          <p:cNvPr id="20" name="Picture 19">
            <a:extLst>
              <a:ext uri="{FF2B5EF4-FFF2-40B4-BE49-F238E27FC236}">
                <a16:creationId xmlns:a16="http://schemas.microsoft.com/office/drawing/2014/main" id="{76B0672F-512A-42F1-B28E-6629CB6D8F20}"/>
              </a:ext>
            </a:extLst>
          </p:cNvPr>
          <p:cNvPicPr>
            <a:picLocks noChangeAspect="1"/>
          </p:cNvPicPr>
          <p:nvPr/>
        </p:nvPicPr>
        <p:blipFill>
          <a:blip r:embed="rId7"/>
          <a:stretch>
            <a:fillRect/>
          </a:stretch>
        </p:blipFill>
        <p:spPr>
          <a:xfrm>
            <a:off x="1003969" y="2395700"/>
            <a:ext cx="308426" cy="627948"/>
          </a:xfrm>
          <a:prstGeom prst="rect">
            <a:avLst/>
          </a:prstGeom>
        </p:spPr>
      </p:pic>
      <p:grpSp>
        <p:nvGrpSpPr>
          <p:cNvPr id="133" name="Group 132">
            <a:extLst>
              <a:ext uri="{FF2B5EF4-FFF2-40B4-BE49-F238E27FC236}">
                <a16:creationId xmlns:a16="http://schemas.microsoft.com/office/drawing/2014/main" id="{E898E924-B524-4064-9731-022BA669B900}"/>
              </a:ext>
            </a:extLst>
          </p:cNvPr>
          <p:cNvGrpSpPr/>
          <p:nvPr/>
        </p:nvGrpSpPr>
        <p:grpSpPr>
          <a:xfrm>
            <a:off x="593426" y="2986311"/>
            <a:ext cx="1379538" cy="319758"/>
            <a:chOff x="672574" y="4197414"/>
            <a:chExt cx="1283155" cy="716782"/>
          </a:xfrm>
        </p:grpSpPr>
        <p:sp>
          <p:nvSpPr>
            <p:cNvPr id="134" name="Rectangle: Rounded Corners 133">
              <a:extLst>
                <a:ext uri="{FF2B5EF4-FFF2-40B4-BE49-F238E27FC236}">
                  <a16:creationId xmlns:a16="http://schemas.microsoft.com/office/drawing/2014/main" id="{7D9003EA-2CC8-4E44-9F10-B329CFC3F76B}"/>
                </a:ext>
              </a:extLst>
            </p:cNvPr>
            <p:cNvSpPr/>
            <p:nvPr/>
          </p:nvSpPr>
          <p:spPr>
            <a:xfrm>
              <a:off x="672574" y="4197414"/>
              <a:ext cx="1244617" cy="716782"/>
            </a:xfrm>
            <a:prstGeom prst="roundRect">
              <a:avLst/>
            </a:prstGeom>
            <a:noFill/>
            <a:ln>
              <a:solidFill>
                <a:srgbClr val="064E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135" name="TextBox 134">
              <a:extLst>
                <a:ext uri="{FF2B5EF4-FFF2-40B4-BE49-F238E27FC236}">
                  <a16:creationId xmlns:a16="http://schemas.microsoft.com/office/drawing/2014/main" id="{52DC3327-D511-48B9-B0BF-C86EFF794FA2}"/>
                </a:ext>
              </a:extLst>
            </p:cNvPr>
            <p:cNvSpPr txBox="1"/>
            <p:nvPr/>
          </p:nvSpPr>
          <p:spPr>
            <a:xfrm>
              <a:off x="777874" y="4330576"/>
              <a:ext cx="1177855" cy="319759"/>
            </a:xfrm>
            <a:prstGeom prst="rect">
              <a:avLst/>
            </a:prstGeom>
            <a:noFill/>
          </p:spPr>
          <p:txBody>
            <a:bodyPr wrap="none" lIns="0" tIns="0" rIns="0" bIns="0" rtlCol="0">
              <a:noAutofit/>
            </a:bodyPr>
            <a:lstStyle/>
            <a:p>
              <a:pPr defTabSz="456758" fontAlgn="base"/>
              <a:r>
                <a:rPr lang="en-US" sz="1200" dirty="0">
                  <a:solidFill>
                    <a:schemeClr val="tx2"/>
                  </a:solidFill>
                  <a:latin typeface="Open Sans Light"/>
                  <a:cs typeface="Open Sans Light"/>
                </a:rPr>
                <a:t>GPS / SPOG</a:t>
              </a:r>
            </a:p>
          </p:txBody>
        </p:sp>
      </p:grpSp>
      <p:sp>
        <p:nvSpPr>
          <p:cNvPr id="86" name="Flowchart: Magnetic Disk 85">
            <a:extLst>
              <a:ext uri="{FF2B5EF4-FFF2-40B4-BE49-F238E27FC236}">
                <a16:creationId xmlns:a16="http://schemas.microsoft.com/office/drawing/2014/main" id="{6A450B28-565F-4757-B55B-AFF3A06FC011}"/>
              </a:ext>
            </a:extLst>
          </p:cNvPr>
          <p:cNvSpPr/>
          <p:nvPr/>
        </p:nvSpPr>
        <p:spPr>
          <a:xfrm>
            <a:off x="8708159" y="858994"/>
            <a:ext cx="1723288" cy="377502"/>
          </a:xfrm>
          <a:prstGeom prst="flowChartMagneticDisk">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Case Notes</a:t>
            </a:r>
          </a:p>
        </p:txBody>
      </p:sp>
      <p:sp>
        <p:nvSpPr>
          <p:cNvPr id="87" name="Flowchart: Magnetic Disk 86">
            <a:extLst>
              <a:ext uri="{FF2B5EF4-FFF2-40B4-BE49-F238E27FC236}">
                <a16:creationId xmlns:a16="http://schemas.microsoft.com/office/drawing/2014/main" id="{08405BA2-6144-4020-A387-ECC5F0302858}"/>
              </a:ext>
            </a:extLst>
          </p:cNvPr>
          <p:cNvSpPr/>
          <p:nvPr/>
        </p:nvSpPr>
        <p:spPr>
          <a:xfrm>
            <a:off x="8706310" y="1323232"/>
            <a:ext cx="1723288" cy="377502"/>
          </a:xfrm>
          <a:prstGeom prst="flowChartMagneticDisk">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UM Notes</a:t>
            </a:r>
          </a:p>
        </p:txBody>
      </p:sp>
      <p:sp>
        <p:nvSpPr>
          <p:cNvPr id="88" name="Flowchart: Magnetic Disk 87">
            <a:extLst>
              <a:ext uri="{FF2B5EF4-FFF2-40B4-BE49-F238E27FC236}">
                <a16:creationId xmlns:a16="http://schemas.microsoft.com/office/drawing/2014/main" id="{0B1E4C7B-DB07-4978-81EB-CD52BFA845FA}"/>
              </a:ext>
            </a:extLst>
          </p:cNvPr>
          <p:cNvSpPr/>
          <p:nvPr/>
        </p:nvSpPr>
        <p:spPr>
          <a:xfrm>
            <a:off x="8714645" y="1720454"/>
            <a:ext cx="1723288" cy="377502"/>
          </a:xfrm>
          <a:prstGeom prst="flowChartMagneticDisk">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Disease Notes</a:t>
            </a:r>
          </a:p>
        </p:txBody>
      </p:sp>
      <p:sp>
        <p:nvSpPr>
          <p:cNvPr id="89" name="Flowchart: Magnetic Disk 88">
            <a:extLst>
              <a:ext uri="{FF2B5EF4-FFF2-40B4-BE49-F238E27FC236}">
                <a16:creationId xmlns:a16="http://schemas.microsoft.com/office/drawing/2014/main" id="{06C92EA9-384C-4ADC-A2F2-FB902951CBA3}"/>
              </a:ext>
            </a:extLst>
          </p:cNvPr>
          <p:cNvSpPr/>
          <p:nvPr/>
        </p:nvSpPr>
        <p:spPr>
          <a:xfrm>
            <a:off x="8714645" y="2205087"/>
            <a:ext cx="1723288" cy="377502"/>
          </a:xfrm>
          <a:prstGeom prst="flowChartMagneticDisk">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Wellness Notes</a:t>
            </a:r>
          </a:p>
        </p:txBody>
      </p:sp>
      <p:sp>
        <p:nvSpPr>
          <p:cNvPr id="91" name="Flowchart: Magnetic Disk 90">
            <a:extLst>
              <a:ext uri="{FF2B5EF4-FFF2-40B4-BE49-F238E27FC236}">
                <a16:creationId xmlns:a16="http://schemas.microsoft.com/office/drawing/2014/main" id="{83E80896-11ED-4DB3-8D34-030A7F322B2A}"/>
              </a:ext>
            </a:extLst>
          </p:cNvPr>
          <p:cNvSpPr/>
          <p:nvPr/>
        </p:nvSpPr>
        <p:spPr>
          <a:xfrm>
            <a:off x="8714645" y="2690668"/>
            <a:ext cx="1723288" cy="377502"/>
          </a:xfrm>
          <a:prstGeom prst="flowChartMagneticDisk">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Health Assessments</a:t>
            </a:r>
          </a:p>
        </p:txBody>
      </p:sp>
      <p:sp>
        <p:nvSpPr>
          <p:cNvPr id="93" name="Flowchart: Magnetic Disk 92">
            <a:extLst>
              <a:ext uri="{FF2B5EF4-FFF2-40B4-BE49-F238E27FC236}">
                <a16:creationId xmlns:a16="http://schemas.microsoft.com/office/drawing/2014/main" id="{735321BA-4E48-4873-A1FC-EF977633A3A5}"/>
              </a:ext>
            </a:extLst>
          </p:cNvPr>
          <p:cNvSpPr/>
          <p:nvPr/>
        </p:nvSpPr>
        <p:spPr>
          <a:xfrm>
            <a:off x="8711637" y="3158292"/>
            <a:ext cx="1723288" cy="377502"/>
          </a:xfrm>
          <a:prstGeom prst="flowChartMagneticDisk">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Lab Data</a:t>
            </a:r>
          </a:p>
        </p:txBody>
      </p:sp>
      <p:sp>
        <p:nvSpPr>
          <p:cNvPr id="95" name="Flowchart: Magnetic Disk 94">
            <a:extLst>
              <a:ext uri="{FF2B5EF4-FFF2-40B4-BE49-F238E27FC236}">
                <a16:creationId xmlns:a16="http://schemas.microsoft.com/office/drawing/2014/main" id="{45B2ECEC-1338-47A6-8918-7F0A6E422D0E}"/>
              </a:ext>
            </a:extLst>
          </p:cNvPr>
          <p:cNvSpPr/>
          <p:nvPr/>
        </p:nvSpPr>
        <p:spPr>
          <a:xfrm>
            <a:off x="8706310" y="3634077"/>
            <a:ext cx="1723288" cy="377502"/>
          </a:xfrm>
          <a:prstGeom prst="flowChartMagneticDisk">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EMR Data (</a:t>
            </a:r>
            <a:r>
              <a:rPr lang="en-US" sz="12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e.g.ADT</a:t>
            </a: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97" name="Flowchart: Magnetic Disk 96">
            <a:extLst>
              <a:ext uri="{FF2B5EF4-FFF2-40B4-BE49-F238E27FC236}">
                <a16:creationId xmlns:a16="http://schemas.microsoft.com/office/drawing/2014/main" id="{E9BCE429-92BC-4199-A9F8-82691810B40A}"/>
              </a:ext>
            </a:extLst>
          </p:cNvPr>
          <p:cNvSpPr/>
          <p:nvPr/>
        </p:nvSpPr>
        <p:spPr>
          <a:xfrm>
            <a:off x="8706310" y="4081517"/>
            <a:ext cx="1723288" cy="377502"/>
          </a:xfrm>
          <a:prstGeom prst="flowChartMagneticDisk">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Bio-Metric Data</a:t>
            </a:r>
          </a:p>
        </p:txBody>
      </p:sp>
      <p:sp>
        <p:nvSpPr>
          <p:cNvPr id="98" name="Flowchart: Magnetic Disk 97">
            <a:extLst>
              <a:ext uri="{FF2B5EF4-FFF2-40B4-BE49-F238E27FC236}">
                <a16:creationId xmlns:a16="http://schemas.microsoft.com/office/drawing/2014/main" id="{A739A0CE-4F26-4603-8CD1-A51B86328F52}"/>
              </a:ext>
            </a:extLst>
          </p:cNvPr>
          <p:cNvSpPr/>
          <p:nvPr/>
        </p:nvSpPr>
        <p:spPr>
          <a:xfrm>
            <a:off x="8714645" y="4485235"/>
            <a:ext cx="1723288" cy="377502"/>
          </a:xfrm>
          <a:prstGeom prst="flowChartMagneticDisk">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Social Data</a:t>
            </a:r>
          </a:p>
        </p:txBody>
      </p:sp>
      <p:sp>
        <p:nvSpPr>
          <p:cNvPr id="102" name="Flowchart: Magnetic Disk 101">
            <a:extLst>
              <a:ext uri="{FF2B5EF4-FFF2-40B4-BE49-F238E27FC236}">
                <a16:creationId xmlns:a16="http://schemas.microsoft.com/office/drawing/2014/main" id="{8A1C22D2-4026-420D-B095-28B3FC1CF436}"/>
              </a:ext>
            </a:extLst>
          </p:cNvPr>
          <p:cNvSpPr/>
          <p:nvPr/>
        </p:nvSpPr>
        <p:spPr>
          <a:xfrm>
            <a:off x="8714645" y="4932675"/>
            <a:ext cx="1723288" cy="377502"/>
          </a:xfrm>
          <a:prstGeom prst="flowChartMagneticDisk">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Patient-Centered Medical Home Data</a:t>
            </a:r>
          </a:p>
        </p:txBody>
      </p:sp>
      <p:sp>
        <p:nvSpPr>
          <p:cNvPr id="105" name="Flowchart: Magnetic Disk 104">
            <a:extLst>
              <a:ext uri="{FF2B5EF4-FFF2-40B4-BE49-F238E27FC236}">
                <a16:creationId xmlns:a16="http://schemas.microsoft.com/office/drawing/2014/main" id="{624F3E26-3514-4F08-BF5A-5F677EAB5FA6}"/>
              </a:ext>
            </a:extLst>
          </p:cNvPr>
          <p:cNvSpPr/>
          <p:nvPr/>
        </p:nvSpPr>
        <p:spPr>
          <a:xfrm>
            <a:off x="8714645" y="5394413"/>
            <a:ext cx="1723288" cy="377502"/>
          </a:xfrm>
          <a:prstGeom prst="flowChartMagneticDisk">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Clinical Attribution Data</a:t>
            </a:r>
          </a:p>
        </p:txBody>
      </p:sp>
      <p:sp>
        <p:nvSpPr>
          <p:cNvPr id="72" name="Flowchart: Magnetic Disk 71">
            <a:extLst>
              <a:ext uri="{FF2B5EF4-FFF2-40B4-BE49-F238E27FC236}">
                <a16:creationId xmlns:a16="http://schemas.microsoft.com/office/drawing/2014/main" id="{05D34D87-28D3-412B-A66A-02FF2BFA299A}"/>
              </a:ext>
            </a:extLst>
          </p:cNvPr>
          <p:cNvSpPr/>
          <p:nvPr/>
        </p:nvSpPr>
        <p:spPr>
          <a:xfrm>
            <a:off x="8706310" y="5824697"/>
            <a:ext cx="1723288" cy="377502"/>
          </a:xfrm>
          <a:prstGeom prst="flowChartMagneticDisk">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Pharmacy Data</a:t>
            </a:r>
          </a:p>
        </p:txBody>
      </p:sp>
      <p:sp>
        <p:nvSpPr>
          <p:cNvPr id="71" name="Flowchart: Magnetic Disk 70">
            <a:extLst>
              <a:ext uri="{FF2B5EF4-FFF2-40B4-BE49-F238E27FC236}">
                <a16:creationId xmlns:a16="http://schemas.microsoft.com/office/drawing/2014/main" id="{CDD8335B-6B9E-415A-BA70-DFCE1D5E4CDF}"/>
              </a:ext>
            </a:extLst>
          </p:cNvPr>
          <p:cNvSpPr/>
          <p:nvPr/>
        </p:nvSpPr>
        <p:spPr>
          <a:xfrm>
            <a:off x="8714645" y="6210932"/>
            <a:ext cx="1723288" cy="377502"/>
          </a:xfrm>
          <a:prstGeom prst="flowChartMagneticDisk">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Quality Data</a:t>
            </a:r>
          </a:p>
        </p:txBody>
      </p:sp>
      <p:pic>
        <p:nvPicPr>
          <p:cNvPr id="7" name="Picture 6">
            <a:extLst>
              <a:ext uri="{FF2B5EF4-FFF2-40B4-BE49-F238E27FC236}">
                <a16:creationId xmlns:a16="http://schemas.microsoft.com/office/drawing/2014/main" id="{962D7125-602F-4BBD-A85D-760FD46713B2}"/>
              </a:ext>
            </a:extLst>
          </p:cNvPr>
          <p:cNvPicPr>
            <a:picLocks noChangeAspect="1"/>
          </p:cNvPicPr>
          <p:nvPr/>
        </p:nvPicPr>
        <p:blipFill>
          <a:blip r:embed="rId8"/>
          <a:stretch>
            <a:fillRect/>
          </a:stretch>
        </p:blipFill>
        <p:spPr>
          <a:xfrm>
            <a:off x="792889" y="5746888"/>
            <a:ext cx="408123" cy="162658"/>
          </a:xfrm>
          <a:prstGeom prst="rect">
            <a:avLst/>
          </a:prstGeom>
        </p:spPr>
      </p:pic>
      <p:pic>
        <p:nvPicPr>
          <p:cNvPr id="8" name="Picture 7">
            <a:extLst>
              <a:ext uri="{FF2B5EF4-FFF2-40B4-BE49-F238E27FC236}">
                <a16:creationId xmlns:a16="http://schemas.microsoft.com/office/drawing/2014/main" id="{C1507BF7-5BE8-4CDD-8B8D-1622F4BFDF32}"/>
              </a:ext>
            </a:extLst>
          </p:cNvPr>
          <p:cNvPicPr>
            <a:picLocks noChangeAspect="1"/>
          </p:cNvPicPr>
          <p:nvPr/>
        </p:nvPicPr>
        <p:blipFill>
          <a:blip r:embed="rId9"/>
          <a:stretch>
            <a:fillRect/>
          </a:stretch>
        </p:blipFill>
        <p:spPr>
          <a:xfrm>
            <a:off x="786405" y="5909546"/>
            <a:ext cx="716974" cy="216147"/>
          </a:xfrm>
          <a:prstGeom prst="rect">
            <a:avLst/>
          </a:prstGeom>
        </p:spPr>
      </p:pic>
      <p:pic>
        <p:nvPicPr>
          <p:cNvPr id="15" name="Picture 14">
            <a:extLst>
              <a:ext uri="{FF2B5EF4-FFF2-40B4-BE49-F238E27FC236}">
                <a16:creationId xmlns:a16="http://schemas.microsoft.com/office/drawing/2014/main" id="{D4758E0A-1242-46BB-8AF0-7E67CA7F7705}"/>
              </a:ext>
            </a:extLst>
          </p:cNvPr>
          <p:cNvPicPr>
            <a:picLocks noChangeAspect="1"/>
          </p:cNvPicPr>
          <p:nvPr/>
        </p:nvPicPr>
        <p:blipFill>
          <a:blip r:embed="rId10"/>
          <a:stretch>
            <a:fillRect/>
          </a:stretch>
        </p:blipFill>
        <p:spPr>
          <a:xfrm>
            <a:off x="832742" y="4237761"/>
            <a:ext cx="832931" cy="240625"/>
          </a:xfrm>
          <a:prstGeom prst="rect">
            <a:avLst/>
          </a:prstGeom>
        </p:spPr>
      </p:pic>
      <p:pic>
        <p:nvPicPr>
          <p:cNvPr id="16" name="Picture 15">
            <a:extLst>
              <a:ext uri="{FF2B5EF4-FFF2-40B4-BE49-F238E27FC236}">
                <a16:creationId xmlns:a16="http://schemas.microsoft.com/office/drawing/2014/main" id="{A5C868DB-0813-44AE-9985-C9DF04B86D5F}"/>
              </a:ext>
            </a:extLst>
          </p:cNvPr>
          <p:cNvPicPr>
            <a:picLocks noChangeAspect="1"/>
          </p:cNvPicPr>
          <p:nvPr/>
        </p:nvPicPr>
        <p:blipFill>
          <a:blip r:embed="rId11"/>
          <a:stretch>
            <a:fillRect/>
          </a:stretch>
        </p:blipFill>
        <p:spPr>
          <a:xfrm>
            <a:off x="817007" y="1794610"/>
            <a:ext cx="748823" cy="160462"/>
          </a:xfrm>
          <a:prstGeom prst="rect">
            <a:avLst/>
          </a:prstGeom>
        </p:spPr>
      </p:pic>
      <p:pic>
        <p:nvPicPr>
          <p:cNvPr id="17" name="Picture 16">
            <a:extLst>
              <a:ext uri="{FF2B5EF4-FFF2-40B4-BE49-F238E27FC236}">
                <a16:creationId xmlns:a16="http://schemas.microsoft.com/office/drawing/2014/main" id="{2AD22A99-BA25-42FD-ACAD-E1EBEDF99C3C}"/>
              </a:ext>
            </a:extLst>
          </p:cNvPr>
          <p:cNvPicPr>
            <a:picLocks noChangeAspect="1"/>
          </p:cNvPicPr>
          <p:nvPr/>
        </p:nvPicPr>
        <p:blipFill>
          <a:blip r:embed="rId12"/>
          <a:stretch>
            <a:fillRect/>
          </a:stretch>
        </p:blipFill>
        <p:spPr>
          <a:xfrm>
            <a:off x="722546" y="2023535"/>
            <a:ext cx="970737" cy="168393"/>
          </a:xfrm>
          <a:prstGeom prst="rect">
            <a:avLst/>
          </a:prstGeom>
        </p:spPr>
      </p:pic>
      <p:pic>
        <p:nvPicPr>
          <p:cNvPr id="23" name="Picture 22">
            <a:extLst>
              <a:ext uri="{FF2B5EF4-FFF2-40B4-BE49-F238E27FC236}">
                <a16:creationId xmlns:a16="http://schemas.microsoft.com/office/drawing/2014/main" id="{9292B345-1DB2-4389-9568-127E616CADAC}"/>
              </a:ext>
            </a:extLst>
          </p:cNvPr>
          <p:cNvPicPr>
            <a:picLocks noChangeAspect="1"/>
          </p:cNvPicPr>
          <p:nvPr/>
        </p:nvPicPr>
        <p:blipFill>
          <a:blip r:embed="rId13"/>
          <a:stretch>
            <a:fillRect/>
          </a:stretch>
        </p:blipFill>
        <p:spPr>
          <a:xfrm>
            <a:off x="782370" y="6100852"/>
            <a:ext cx="946161" cy="313673"/>
          </a:xfrm>
          <a:prstGeom prst="rect">
            <a:avLst/>
          </a:prstGeom>
        </p:spPr>
      </p:pic>
    </p:spTree>
    <p:extLst>
      <p:ext uri="{BB962C8B-B14F-4D97-AF65-F5344CB8AC3E}">
        <p14:creationId xmlns:p14="http://schemas.microsoft.com/office/powerpoint/2010/main" val="14520637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F0B9D5-149E-424A-B1DD-8D6AE4949726}"/>
              </a:ext>
            </a:extLst>
          </p:cNvPr>
          <p:cNvSpPr>
            <a:spLocks noGrp="1"/>
          </p:cNvSpPr>
          <p:nvPr>
            <p:ph type="title"/>
          </p:nvPr>
        </p:nvSpPr>
        <p:spPr/>
        <p:txBody>
          <a:bodyPr/>
          <a:lstStyle/>
          <a:p>
            <a:r>
              <a:rPr lang="en-US" dirty="0"/>
              <a:t>Clinical Current </a:t>
            </a:r>
          </a:p>
        </p:txBody>
      </p:sp>
      <p:sp>
        <p:nvSpPr>
          <p:cNvPr id="3" name="Text Placeholder 2">
            <a:extLst>
              <a:ext uri="{FF2B5EF4-FFF2-40B4-BE49-F238E27FC236}">
                <a16:creationId xmlns:a16="http://schemas.microsoft.com/office/drawing/2014/main" id="{4879FC1C-A0BB-4097-91FF-E35B81DDCC3C}"/>
              </a:ext>
            </a:extLst>
          </p:cNvPr>
          <p:cNvSpPr>
            <a:spLocks noGrp="1"/>
          </p:cNvSpPr>
          <p:nvPr>
            <p:ph type="body" sz="quarter" idx="11"/>
          </p:nvPr>
        </p:nvSpPr>
        <p:spPr/>
        <p:txBody>
          <a:bodyPr/>
          <a:lstStyle/>
          <a:p>
            <a:endParaRPr lang="en-US"/>
          </a:p>
        </p:txBody>
      </p:sp>
      <p:sp>
        <p:nvSpPr>
          <p:cNvPr id="21" name="Rectangle 20">
            <a:extLst>
              <a:ext uri="{FF2B5EF4-FFF2-40B4-BE49-F238E27FC236}">
                <a16:creationId xmlns:a16="http://schemas.microsoft.com/office/drawing/2014/main" id="{D984982F-9C53-462B-ABC4-7DE8293DD249}"/>
              </a:ext>
            </a:extLst>
          </p:cNvPr>
          <p:cNvSpPr/>
          <p:nvPr/>
        </p:nvSpPr>
        <p:spPr>
          <a:xfrm>
            <a:off x="116414" y="2498930"/>
            <a:ext cx="2158862" cy="2945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mj-lt"/>
                <a:cs typeface="Open Sans Bold"/>
              </a:rPr>
              <a:t>Medicare / Commercial </a:t>
            </a:r>
          </a:p>
        </p:txBody>
      </p:sp>
      <p:sp>
        <p:nvSpPr>
          <p:cNvPr id="22" name="Rectangle 21">
            <a:extLst>
              <a:ext uri="{FF2B5EF4-FFF2-40B4-BE49-F238E27FC236}">
                <a16:creationId xmlns:a16="http://schemas.microsoft.com/office/drawing/2014/main" id="{EB9760A9-D892-4483-868B-FA928AEB703A}"/>
              </a:ext>
            </a:extLst>
          </p:cNvPr>
          <p:cNvSpPr/>
          <p:nvPr/>
        </p:nvSpPr>
        <p:spPr>
          <a:xfrm>
            <a:off x="1484590" y="3211514"/>
            <a:ext cx="723764" cy="26773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mj-lt"/>
                <a:cs typeface="Open Sans Bold"/>
              </a:rPr>
              <a:t>ATV</a:t>
            </a:r>
            <a:endParaRPr lang="en-US" sz="1400" dirty="0">
              <a:latin typeface="+mj-lt"/>
              <a:cs typeface="Open Sans Bold"/>
            </a:endParaRPr>
          </a:p>
        </p:txBody>
      </p:sp>
      <p:sp>
        <p:nvSpPr>
          <p:cNvPr id="27" name="TextBox 26">
            <a:extLst>
              <a:ext uri="{FF2B5EF4-FFF2-40B4-BE49-F238E27FC236}">
                <a16:creationId xmlns:a16="http://schemas.microsoft.com/office/drawing/2014/main" id="{12F58568-266E-4AE5-9442-4B18FFC039DD}"/>
              </a:ext>
            </a:extLst>
          </p:cNvPr>
          <p:cNvSpPr txBox="1"/>
          <p:nvPr/>
        </p:nvSpPr>
        <p:spPr>
          <a:xfrm>
            <a:off x="346908" y="1730811"/>
            <a:ext cx="1344420" cy="284807"/>
          </a:xfrm>
          <a:prstGeom prst="rect">
            <a:avLst/>
          </a:prstGeom>
          <a:noFill/>
        </p:spPr>
        <p:txBody>
          <a:bodyPr wrap="square" lIns="0" tIns="0" rIns="0" bIns="0" rtlCol="0">
            <a:noAutofit/>
          </a:bodyPr>
          <a:lstStyle/>
          <a:p>
            <a:pPr defTabSz="456758" fontAlgn="base">
              <a:spcBef>
                <a:spcPts val="1200"/>
              </a:spcBef>
            </a:pPr>
            <a:r>
              <a:rPr lang="en-US" sz="2400" b="1" dirty="0">
                <a:solidFill>
                  <a:schemeClr val="accent2"/>
                </a:solidFill>
                <a:cs typeface="Open Sans Light"/>
              </a:rPr>
              <a:t>Aetna</a:t>
            </a:r>
          </a:p>
        </p:txBody>
      </p:sp>
      <p:cxnSp>
        <p:nvCxnSpPr>
          <p:cNvPr id="86" name="Straight Connector 85">
            <a:extLst>
              <a:ext uri="{FF2B5EF4-FFF2-40B4-BE49-F238E27FC236}">
                <a16:creationId xmlns:a16="http://schemas.microsoft.com/office/drawing/2014/main" id="{664B5030-030D-44E8-A2E2-C3144224E379}"/>
              </a:ext>
            </a:extLst>
          </p:cNvPr>
          <p:cNvCxnSpPr>
            <a:cxnSpLocks/>
          </p:cNvCxnSpPr>
          <p:nvPr/>
        </p:nvCxnSpPr>
        <p:spPr>
          <a:xfrm>
            <a:off x="1772045" y="2784813"/>
            <a:ext cx="50" cy="402768"/>
          </a:xfrm>
          <a:prstGeom prst="line">
            <a:avLst/>
          </a:prstGeom>
          <a:ln w="1270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80568608-0C72-457A-963F-7DC09E4C0D43}"/>
              </a:ext>
            </a:extLst>
          </p:cNvPr>
          <p:cNvCxnSpPr>
            <a:cxnSpLocks/>
          </p:cNvCxnSpPr>
          <p:nvPr/>
        </p:nvCxnSpPr>
        <p:spPr>
          <a:xfrm>
            <a:off x="8276669" y="2040468"/>
            <a:ext cx="0" cy="3059302"/>
          </a:xfrm>
          <a:prstGeom prst="line">
            <a:avLst/>
          </a:prstGeom>
          <a:ln w="190500" cmpd="sng">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73" name="Group 172">
            <a:extLst>
              <a:ext uri="{FF2B5EF4-FFF2-40B4-BE49-F238E27FC236}">
                <a16:creationId xmlns:a16="http://schemas.microsoft.com/office/drawing/2014/main" id="{CFE2ACAD-AC6D-4F3D-A5E7-378F1D54051B}"/>
              </a:ext>
            </a:extLst>
          </p:cNvPr>
          <p:cNvGrpSpPr/>
          <p:nvPr/>
        </p:nvGrpSpPr>
        <p:grpSpPr>
          <a:xfrm>
            <a:off x="1413722" y="3704567"/>
            <a:ext cx="642084" cy="463708"/>
            <a:chOff x="398611" y="3748233"/>
            <a:chExt cx="642084" cy="463708"/>
          </a:xfrm>
        </p:grpSpPr>
        <p:sp>
          <p:nvSpPr>
            <p:cNvPr id="87" name="Freeform 24">
              <a:extLst>
                <a:ext uri="{FF2B5EF4-FFF2-40B4-BE49-F238E27FC236}">
                  <a16:creationId xmlns:a16="http://schemas.microsoft.com/office/drawing/2014/main" id="{A75F58F0-28AD-4BB3-9EA4-7D16DED1D849}"/>
                </a:ext>
              </a:extLst>
            </p:cNvPr>
            <p:cNvSpPr>
              <a:spLocks noEditPoints="1"/>
            </p:cNvSpPr>
            <p:nvPr/>
          </p:nvSpPr>
          <p:spPr bwMode="auto">
            <a:xfrm>
              <a:off x="468348" y="3748233"/>
              <a:ext cx="448797" cy="294576"/>
            </a:xfrm>
            <a:custGeom>
              <a:avLst/>
              <a:gdLst/>
              <a:ahLst/>
              <a:cxnLst>
                <a:cxn ang="0">
                  <a:pos x="231" y="141"/>
                </a:cxn>
                <a:cxn ang="0">
                  <a:pos x="206" y="82"/>
                </a:cxn>
                <a:cxn ang="0">
                  <a:pos x="217" y="156"/>
                </a:cxn>
                <a:cxn ang="0">
                  <a:pos x="210" y="168"/>
                </a:cxn>
                <a:cxn ang="0">
                  <a:pos x="208" y="165"/>
                </a:cxn>
                <a:cxn ang="0">
                  <a:pos x="157" y="137"/>
                </a:cxn>
                <a:cxn ang="0">
                  <a:pos x="141" y="71"/>
                </a:cxn>
                <a:cxn ang="0">
                  <a:pos x="144" y="62"/>
                </a:cxn>
                <a:cxn ang="0">
                  <a:pos x="201" y="48"/>
                </a:cxn>
                <a:cxn ang="0">
                  <a:pos x="219" y="62"/>
                </a:cxn>
                <a:cxn ang="0">
                  <a:pos x="234" y="141"/>
                </a:cxn>
                <a:cxn ang="0">
                  <a:pos x="170" y="198"/>
                </a:cxn>
                <a:cxn ang="0">
                  <a:pos x="164" y="242"/>
                </a:cxn>
                <a:cxn ang="0">
                  <a:pos x="81" y="242"/>
                </a:cxn>
                <a:cxn ang="0">
                  <a:pos x="75" y="198"/>
                </a:cxn>
                <a:cxn ang="0">
                  <a:pos x="40" y="219"/>
                </a:cxn>
                <a:cxn ang="0">
                  <a:pos x="48" y="169"/>
                </a:cxn>
                <a:cxn ang="0">
                  <a:pos x="104" y="149"/>
                </a:cxn>
                <a:cxn ang="0">
                  <a:pos x="141" y="149"/>
                </a:cxn>
                <a:cxn ang="0">
                  <a:pos x="196" y="169"/>
                </a:cxn>
                <a:cxn ang="0">
                  <a:pos x="204" y="219"/>
                </a:cxn>
                <a:cxn ang="0">
                  <a:pos x="35" y="169"/>
                </a:cxn>
                <a:cxn ang="0">
                  <a:pos x="36" y="80"/>
                </a:cxn>
                <a:cxn ang="0">
                  <a:pos x="21" y="131"/>
                </a:cxn>
                <a:cxn ang="0">
                  <a:pos x="9" y="140"/>
                </a:cxn>
                <a:cxn ang="0">
                  <a:pos x="12" y="61"/>
                </a:cxn>
                <a:cxn ang="0">
                  <a:pos x="31" y="47"/>
                </a:cxn>
                <a:cxn ang="0">
                  <a:pos x="62" y="69"/>
                </a:cxn>
                <a:cxn ang="0">
                  <a:pos x="94" y="47"/>
                </a:cxn>
                <a:cxn ang="0">
                  <a:pos x="113" y="61"/>
                </a:cxn>
                <a:cxn ang="0">
                  <a:pos x="91" y="80"/>
                </a:cxn>
                <a:cxn ang="0">
                  <a:pos x="90" y="81"/>
                </a:cxn>
                <a:cxn ang="0">
                  <a:pos x="87" y="137"/>
                </a:cxn>
                <a:cxn ang="0">
                  <a:pos x="36" y="165"/>
                </a:cxn>
                <a:cxn ang="0">
                  <a:pos x="62" y="0"/>
                </a:cxn>
                <a:cxn ang="0">
                  <a:pos x="62" y="40"/>
                </a:cxn>
                <a:cxn ang="0">
                  <a:pos x="62" y="0"/>
                </a:cxn>
                <a:cxn ang="0">
                  <a:pos x="154" y="110"/>
                </a:cxn>
                <a:cxn ang="0">
                  <a:pos x="91" y="110"/>
                </a:cxn>
                <a:cxn ang="0">
                  <a:pos x="182" y="0"/>
                </a:cxn>
                <a:cxn ang="0">
                  <a:pos x="182" y="40"/>
                </a:cxn>
                <a:cxn ang="0">
                  <a:pos x="182" y="0"/>
                </a:cxn>
              </a:cxnLst>
              <a:rect l="0" t="0" r="r" b="b"/>
              <a:pathLst>
                <a:path w="241" h="248">
                  <a:moveTo>
                    <a:pt x="234" y="141"/>
                  </a:moveTo>
                  <a:cubicBezTo>
                    <a:pt x="233" y="141"/>
                    <a:pt x="232" y="141"/>
                    <a:pt x="231" y="141"/>
                  </a:cubicBezTo>
                  <a:cubicBezTo>
                    <a:pt x="227" y="141"/>
                    <a:pt x="223" y="139"/>
                    <a:pt x="222" y="134"/>
                  </a:cubicBezTo>
                  <a:cubicBezTo>
                    <a:pt x="206" y="82"/>
                    <a:pt x="206" y="82"/>
                    <a:pt x="206" y="82"/>
                  </a:cubicBezTo>
                  <a:cubicBezTo>
                    <a:pt x="198" y="82"/>
                    <a:pt x="198" y="82"/>
                    <a:pt x="198" y="82"/>
                  </a:cubicBezTo>
                  <a:cubicBezTo>
                    <a:pt x="217" y="156"/>
                    <a:pt x="217" y="156"/>
                    <a:pt x="217" y="156"/>
                  </a:cubicBezTo>
                  <a:cubicBezTo>
                    <a:pt x="218" y="157"/>
                    <a:pt x="218" y="158"/>
                    <a:pt x="218" y="160"/>
                  </a:cubicBezTo>
                  <a:cubicBezTo>
                    <a:pt x="218" y="164"/>
                    <a:pt x="214" y="168"/>
                    <a:pt x="210" y="168"/>
                  </a:cubicBezTo>
                  <a:cubicBezTo>
                    <a:pt x="209" y="168"/>
                    <a:pt x="209" y="168"/>
                    <a:pt x="209" y="168"/>
                  </a:cubicBezTo>
                  <a:cubicBezTo>
                    <a:pt x="208" y="167"/>
                    <a:pt x="208" y="166"/>
                    <a:pt x="208" y="165"/>
                  </a:cubicBezTo>
                  <a:cubicBezTo>
                    <a:pt x="203" y="148"/>
                    <a:pt x="186" y="137"/>
                    <a:pt x="168" y="137"/>
                  </a:cubicBezTo>
                  <a:cubicBezTo>
                    <a:pt x="157" y="137"/>
                    <a:pt x="157" y="137"/>
                    <a:pt x="157" y="137"/>
                  </a:cubicBezTo>
                  <a:cubicBezTo>
                    <a:pt x="163" y="129"/>
                    <a:pt x="166" y="120"/>
                    <a:pt x="166" y="110"/>
                  </a:cubicBezTo>
                  <a:cubicBezTo>
                    <a:pt x="166" y="93"/>
                    <a:pt x="156" y="78"/>
                    <a:pt x="141" y="71"/>
                  </a:cubicBezTo>
                  <a:cubicBezTo>
                    <a:pt x="144" y="62"/>
                    <a:pt x="144" y="62"/>
                    <a:pt x="144" y="62"/>
                  </a:cubicBezTo>
                  <a:cubicBezTo>
                    <a:pt x="144" y="62"/>
                    <a:pt x="144" y="62"/>
                    <a:pt x="144" y="62"/>
                  </a:cubicBezTo>
                  <a:cubicBezTo>
                    <a:pt x="147" y="53"/>
                    <a:pt x="154" y="48"/>
                    <a:pt x="162" y="48"/>
                  </a:cubicBezTo>
                  <a:cubicBezTo>
                    <a:pt x="201" y="48"/>
                    <a:pt x="201" y="48"/>
                    <a:pt x="201" y="48"/>
                  </a:cubicBezTo>
                  <a:cubicBezTo>
                    <a:pt x="209" y="48"/>
                    <a:pt x="216" y="53"/>
                    <a:pt x="219" y="62"/>
                  </a:cubicBezTo>
                  <a:cubicBezTo>
                    <a:pt x="219" y="62"/>
                    <a:pt x="219" y="62"/>
                    <a:pt x="219" y="62"/>
                  </a:cubicBezTo>
                  <a:cubicBezTo>
                    <a:pt x="240" y="129"/>
                    <a:pt x="240" y="129"/>
                    <a:pt x="240" y="129"/>
                  </a:cubicBezTo>
                  <a:cubicBezTo>
                    <a:pt x="241" y="134"/>
                    <a:pt x="238" y="139"/>
                    <a:pt x="234" y="141"/>
                  </a:cubicBezTo>
                  <a:close/>
                  <a:moveTo>
                    <a:pt x="176" y="237"/>
                  </a:moveTo>
                  <a:cubicBezTo>
                    <a:pt x="170" y="198"/>
                    <a:pt x="170" y="198"/>
                    <a:pt x="170" y="198"/>
                  </a:cubicBezTo>
                  <a:cubicBezTo>
                    <a:pt x="162" y="198"/>
                    <a:pt x="162" y="198"/>
                    <a:pt x="162" y="198"/>
                  </a:cubicBezTo>
                  <a:cubicBezTo>
                    <a:pt x="164" y="242"/>
                    <a:pt x="164" y="242"/>
                    <a:pt x="164" y="242"/>
                  </a:cubicBezTo>
                  <a:cubicBezTo>
                    <a:pt x="151" y="246"/>
                    <a:pt x="137" y="248"/>
                    <a:pt x="122" y="248"/>
                  </a:cubicBezTo>
                  <a:cubicBezTo>
                    <a:pt x="108" y="248"/>
                    <a:pt x="94" y="246"/>
                    <a:pt x="81" y="242"/>
                  </a:cubicBezTo>
                  <a:cubicBezTo>
                    <a:pt x="83" y="198"/>
                    <a:pt x="83" y="198"/>
                    <a:pt x="83" y="198"/>
                  </a:cubicBezTo>
                  <a:cubicBezTo>
                    <a:pt x="75" y="198"/>
                    <a:pt x="75" y="198"/>
                    <a:pt x="75" y="198"/>
                  </a:cubicBezTo>
                  <a:cubicBezTo>
                    <a:pt x="67" y="237"/>
                    <a:pt x="67" y="237"/>
                    <a:pt x="67" y="237"/>
                  </a:cubicBezTo>
                  <a:cubicBezTo>
                    <a:pt x="57" y="232"/>
                    <a:pt x="48" y="226"/>
                    <a:pt x="40" y="219"/>
                  </a:cubicBezTo>
                  <a:cubicBezTo>
                    <a:pt x="48" y="171"/>
                    <a:pt x="48" y="171"/>
                    <a:pt x="48" y="171"/>
                  </a:cubicBezTo>
                  <a:cubicBezTo>
                    <a:pt x="48" y="170"/>
                    <a:pt x="48" y="169"/>
                    <a:pt x="48" y="169"/>
                  </a:cubicBezTo>
                  <a:cubicBezTo>
                    <a:pt x="52" y="157"/>
                    <a:pt x="63" y="149"/>
                    <a:pt x="77" y="149"/>
                  </a:cubicBezTo>
                  <a:cubicBezTo>
                    <a:pt x="104" y="149"/>
                    <a:pt x="104" y="149"/>
                    <a:pt x="104" y="149"/>
                  </a:cubicBezTo>
                  <a:cubicBezTo>
                    <a:pt x="123" y="182"/>
                    <a:pt x="123" y="182"/>
                    <a:pt x="123" y="182"/>
                  </a:cubicBezTo>
                  <a:cubicBezTo>
                    <a:pt x="141" y="149"/>
                    <a:pt x="141" y="149"/>
                    <a:pt x="141" y="149"/>
                  </a:cubicBezTo>
                  <a:cubicBezTo>
                    <a:pt x="168" y="149"/>
                    <a:pt x="168" y="149"/>
                    <a:pt x="168" y="149"/>
                  </a:cubicBezTo>
                  <a:cubicBezTo>
                    <a:pt x="181" y="149"/>
                    <a:pt x="192" y="157"/>
                    <a:pt x="196" y="169"/>
                  </a:cubicBezTo>
                  <a:cubicBezTo>
                    <a:pt x="196" y="169"/>
                    <a:pt x="196" y="170"/>
                    <a:pt x="196" y="171"/>
                  </a:cubicBezTo>
                  <a:cubicBezTo>
                    <a:pt x="204" y="219"/>
                    <a:pt x="204" y="219"/>
                    <a:pt x="204" y="219"/>
                  </a:cubicBezTo>
                  <a:cubicBezTo>
                    <a:pt x="196" y="226"/>
                    <a:pt x="186" y="232"/>
                    <a:pt x="176" y="237"/>
                  </a:cubicBezTo>
                  <a:close/>
                  <a:moveTo>
                    <a:pt x="35" y="169"/>
                  </a:moveTo>
                  <a:cubicBezTo>
                    <a:pt x="34" y="174"/>
                    <a:pt x="34" y="174"/>
                    <a:pt x="34" y="174"/>
                  </a:cubicBezTo>
                  <a:cubicBezTo>
                    <a:pt x="36" y="80"/>
                    <a:pt x="36" y="80"/>
                    <a:pt x="36" y="80"/>
                  </a:cubicBezTo>
                  <a:cubicBezTo>
                    <a:pt x="30" y="80"/>
                    <a:pt x="30" y="80"/>
                    <a:pt x="30" y="80"/>
                  </a:cubicBezTo>
                  <a:cubicBezTo>
                    <a:pt x="21" y="131"/>
                    <a:pt x="21" y="131"/>
                    <a:pt x="21" y="131"/>
                  </a:cubicBezTo>
                  <a:cubicBezTo>
                    <a:pt x="20" y="136"/>
                    <a:pt x="16" y="140"/>
                    <a:pt x="11" y="140"/>
                  </a:cubicBezTo>
                  <a:cubicBezTo>
                    <a:pt x="11" y="140"/>
                    <a:pt x="10" y="140"/>
                    <a:pt x="9" y="140"/>
                  </a:cubicBezTo>
                  <a:cubicBezTo>
                    <a:pt x="4" y="139"/>
                    <a:pt x="0" y="133"/>
                    <a:pt x="1" y="128"/>
                  </a:cubicBezTo>
                  <a:cubicBezTo>
                    <a:pt x="12" y="61"/>
                    <a:pt x="12" y="61"/>
                    <a:pt x="12" y="61"/>
                  </a:cubicBezTo>
                  <a:cubicBezTo>
                    <a:pt x="12" y="60"/>
                    <a:pt x="12" y="60"/>
                    <a:pt x="12" y="60"/>
                  </a:cubicBezTo>
                  <a:cubicBezTo>
                    <a:pt x="15" y="52"/>
                    <a:pt x="23" y="47"/>
                    <a:pt x="31" y="47"/>
                  </a:cubicBezTo>
                  <a:cubicBezTo>
                    <a:pt x="49" y="47"/>
                    <a:pt x="49" y="47"/>
                    <a:pt x="49" y="47"/>
                  </a:cubicBezTo>
                  <a:cubicBezTo>
                    <a:pt x="62" y="69"/>
                    <a:pt x="62" y="69"/>
                    <a:pt x="62" y="69"/>
                  </a:cubicBezTo>
                  <a:cubicBezTo>
                    <a:pt x="76" y="47"/>
                    <a:pt x="76" y="47"/>
                    <a:pt x="76" y="47"/>
                  </a:cubicBezTo>
                  <a:cubicBezTo>
                    <a:pt x="94" y="47"/>
                    <a:pt x="94" y="47"/>
                    <a:pt x="94" y="47"/>
                  </a:cubicBezTo>
                  <a:cubicBezTo>
                    <a:pt x="103" y="47"/>
                    <a:pt x="110" y="52"/>
                    <a:pt x="113" y="60"/>
                  </a:cubicBezTo>
                  <a:cubicBezTo>
                    <a:pt x="113" y="61"/>
                    <a:pt x="113" y="61"/>
                    <a:pt x="113" y="61"/>
                  </a:cubicBezTo>
                  <a:cubicBezTo>
                    <a:pt x="114" y="67"/>
                    <a:pt x="114" y="67"/>
                    <a:pt x="114" y="67"/>
                  </a:cubicBezTo>
                  <a:cubicBezTo>
                    <a:pt x="105" y="69"/>
                    <a:pt x="97" y="73"/>
                    <a:pt x="91" y="80"/>
                  </a:cubicBezTo>
                  <a:cubicBezTo>
                    <a:pt x="90" y="80"/>
                    <a:pt x="90" y="80"/>
                    <a:pt x="90" y="80"/>
                  </a:cubicBezTo>
                  <a:cubicBezTo>
                    <a:pt x="90" y="81"/>
                    <a:pt x="90" y="81"/>
                    <a:pt x="90" y="81"/>
                  </a:cubicBezTo>
                  <a:cubicBezTo>
                    <a:pt x="83" y="88"/>
                    <a:pt x="79" y="99"/>
                    <a:pt x="79" y="110"/>
                  </a:cubicBezTo>
                  <a:cubicBezTo>
                    <a:pt x="79" y="120"/>
                    <a:pt x="82" y="129"/>
                    <a:pt x="87" y="137"/>
                  </a:cubicBezTo>
                  <a:cubicBezTo>
                    <a:pt x="77" y="137"/>
                    <a:pt x="77" y="137"/>
                    <a:pt x="77" y="137"/>
                  </a:cubicBezTo>
                  <a:cubicBezTo>
                    <a:pt x="58" y="137"/>
                    <a:pt x="41" y="148"/>
                    <a:pt x="36" y="165"/>
                  </a:cubicBezTo>
                  <a:cubicBezTo>
                    <a:pt x="36" y="166"/>
                    <a:pt x="35" y="167"/>
                    <a:pt x="35" y="169"/>
                  </a:cubicBezTo>
                  <a:close/>
                  <a:moveTo>
                    <a:pt x="62" y="0"/>
                  </a:moveTo>
                  <a:cubicBezTo>
                    <a:pt x="74" y="0"/>
                    <a:pt x="83" y="9"/>
                    <a:pt x="83" y="20"/>
                  </a:cubicBezTo>
                  <a:cubicBezTo>
                    <a:pt x="83" y="31"/>
                    <a:pt x="74" y="40"/>
                    <a:pt x="62" y="40"/>
                  </a:cubicBezTo>
                  <a:cubicBezTo>
                    <a:pt x="51" y="40"/>
                    <a:pt x="42" y="31"/>
                    <a:pt x="42" y="20"/>
                  </a:cubicBezTo>
                  <a:cubicBezTo>
                    <a:pt x="42" y="9"/>
                    <a:pt x="51" y="0"/>
                    <a:pt x="62" y="0"/>
                  </a:cubicBezTo>
                  <a:close/>
                  <a:moveTo>
                    <a:pt x="122" y="79"/>
                  </a:moveTo>
                  <a:cubicBezTo>
                    <a:pt x="140" y="79"/>
                    <a:pt x="154" y="93"/>
                    <a:pt x="154" y="110"/>
                  </a:cubicBezTo>
                  <a:cubicBezTo>
                    <a:pt x="154" y="127"/>
                    <a:pt x="140" y="141"/>
                    <a:pt x="122" y="141"/>
                  </a:cubicBezTo>
                  <a:cubicBezTo>
                    <a:pt x="105" y="141"/>
                    <a:pt x="91" y="127"/>
                    <a:pt x="91" y="110"/>
                  </a:cubicBezTo>
                  <a:cubicBezTo>
                    <a:pt x="91" y="93"/>
                    <a:pt x="105" y="79"/>
                    <a:pt x="122" y="79"/>
                  </a:cubicBezTo>
                  <a:close/>
                  <a:moveTo>
                    <a:pt x="182" y="0"/>
                  </a:moveTo>
                  <a:cubicBezTo>
                    <a:pt x="193" y="0"/>
                    <a:pt x="201" y="9"/>
                    <a:pt x="201" y="20"/>
                  </a:cubicBezTo>
                  <a:cubicBezTo>
                    <a:pt x="201" y="31"/>
                    <a:pt x="193" y="40"/>
                    <a:pt x="182" y="40"/>
                  </a:cubicBezTo>
                  <a:cubicBezTo>
                    <a:pt x="171" y="40"/>
                    <a:pt x="162" y="31"/>
                    <a:pt x="162" y="20"/>
                  </a:cubicBezTo>
                  <a:cubicBezTo>
                    <a:pt x="162" y="9"/>
                    <a:pt x="171" y="0"/>
                    <a:pt x="182" y="0"/>
                  </a:cubicBezTo>
                  <a:close/>
                </a:path>
              </a:pathLst>
            </a:custGeom>
            <a:solidFill>
              <a:schemeClr val="accent2"/>
            </a:solidFill>
            <a:ln w="9525">
              <a:noFill/>
              <a:round/>
              <a:headEnd/>
              <a:tailEnd/>
            </a:ln>
          </p:spPr>
          <p:txBody>
            <a:bodyPr vert="horz" wrap="square" lIns="100817" tIns="50408" rIns="100817" bIns="50408" numCol="1" anchor="t" anchorCtr="0" compatLnSpc="1">
              <a:prstTxWarp prst="textNoShape">
                <a:avLst/>
              </a:prstTxWarp>
            </a:bodyPr>
            <a:lstStyle/>
            <a:p>
              <a:endParaRPr lang="en-US" sz="2205" dirty="0">
                <a:latin typeface="Arial" panose="020B0604020202020204" pitchFamily="34" charset="0"/>
                <a:cs typeface="Arial" panose="020B0604020202020204" pitchFamily="34" charset="0"/>
                <a:sym typeface="Arial" panose="020B0604020202020204" pitchFamily="34" charset="0"/>
              </a:endParaRPr>
            </a:p>
          </p:txBody>
        </p:sp>
        <p:sp>
          <p:nvSpPr>
            <p:cNvPr id="88" name="TextBox 87">
              <a:extLst>
                <a:ext uri="{FF2B5EF4-FFF2-40B4-BE49-F238E27FC236}">
                  <a16:creationId xmlns:a16="http://schemas.microsoft.com/office/drawing/2014/main" id="{AE6609E0-87CF-420C-9856-393CCF5391D1}"/>
                </a:ext>
              </a:extLst>
            </p:cNvPr>
            <p:cNvSpPr txBox="1"/>
            <p:nvPr/>
          </p:nvSpPr>
          <p:spPr>
            <a:xfrm>
              <a:off x="398611" y="4083756"/>
              <a:ext cx="642084" cy="128185"/>
            </a:xfrm>
            <a:prstGeom prst="rect">
              <a:avLst/>
            </a:prstGeom>
            <a:solidFill>
              <a:schemeClr val="bg1"/>
            </a:solidFill>
          </p:spPr>
          <p:txBody>
            <a:bodyPr wrap="square" lIns="0" tIns="0" rIns="0" bIns="0" rtlCol="0">
              <a:noAutofit/>
            </a:bodyPr>
            <a:lstStyle/>
            <a:p>
              <a:pPr defTabSz="456758" fontAlgn="base">
                <a:spcBef>
                  <a:spcPts val="1200"/>
                </a:spcBef>
              </a:pPr>
              <a:r>
                <a:rPr lang="en-US" sz="1200" dirty="0">
                  <a:solidFill>
                    <a:srgbClr val="064E69"/>
                  </a:solidFill>
                  <a:cs typeface="Open Sans Light"/>
                </a:rPr>
                <a:t>Nurses</a:t>
              </a:r>
            </a:p>
          </p:txBody>
        </p:sp>
      </p:grpSp>
      <p:sp>
        <p:nvSpPr>
          <p:cNvPr id="94" name="Rectangle 93">
            <a:extLst>
              <a:ext uri="{FF2B5EF4-FFF2-40B4-BE49-F238E27FC236}">
                <a16:creationId xmlns:a16="http://schemas.microsoft.com/office/drawing/2014/main" id="{6A3CD03F-1CDE-474C-B2DA-7484FFC1F862}"/>
              </a:ext>
            </a:extLst>
          </p:cNvPr>
          <p:cNvSpPr/>
          <p:nvPr/>
        </p:nvSpPr>
        <p:spPr>
          <a:xfrm>
            <a:off x="2402414" y="2514170"/>
            <a:ext cx="1193641" cy="2945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mj-lt"/>
                <a:cs typeface="Open Sans Bold"/>
              </a:rPr>
              <a:t>Medicaid</a:t>
            </a:r>
          </a:p>
        </p:txBody>
      </p:sp>
      <p:sp>
        <p:nvSpPr>
          <p:cNvPr id="95" name="Rectangle 94">
            <a:extLst>
              <a:ext uri="{FF2B5EF4-FFF2-40B4-BE49-F238E27FC236}">
                <a16:creationId xmlns:a16="http://schemas.microsoft.com/office/drawing/2014/main" id="{15CB342B-175D-47B0-BF2E-4AD95BFCBB07}"/>
              </a:ext>
            </a:extLst>
          </p:cNvPr>
          <p:cNvSpPr/>
          <p:nvPr/>
        </p:nvSpPr>
        <p:spPr>
          <a:xfrm>
            <a:off x="2428411" y="3152467"/>
            <a:ext cx="1123040" cy="45963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mj-lt"/>
                <a:cs typeface="Open Sans Bold"/>
              </a:rPr>
              <a:t>Dynamo/</a:t>
            </a:r>
          </a:p>
          <a:p>
            <a:pPr algn="ctr"/>
            <a:r>
              <a:rPr lang="en-US" sz="1400" dirty="0">
                <a:latin typeface="+mj-lt"/>
                <a:cs typeface="Open Sans Bold"/>
              </a:rPr>
              <a:t>QNXT</a:t>
            </a:r>
          </a:p>
        </p:txBody>
      </p:sp>
      <p:cxnSp>
        <p:nvCxnSpPr>
          <p:cNvPr id="97" name="Straight Connector 96">
            <a:extLst>
              <a:ext uri="{FF2B5EF4-FFF2-40B4-BE49-F238E27FC236}">
                <a16:creationId xmlns:a16="http://schemas.microsoft.com/office/drawing/2014/main" id="{F9DB7467-C0F6-4FF5-AA11-DC5564F576AD}"/>
              </a:ext>
            </a:extLst>
          </p:cNvPr>
          <p:cNvCxnSpPr>
            <a:cxnSpLocks/>
            <a:stCxn id="94" idx="2"/>
            <a:endCxn id="95" idx="0"/>
          </p:cNvCxnSpPr>
          <p:nvPr/>
        </p:nvCxnSpPr>
        <p:spPr>
          <a:xfrm flipH="1">
            <a:off x="2989931" y="2808746"/>
            <a:ext cx="9304" cy="343721"/>
          </a:xfrm>
          <a:prstGeom prst="line">
            <a:avLst/>
          </a:prstGeom>
          <a:ln w="1270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161C2D72-A69E-4B46-A8BA-5BB993194C95}"/>
              </a:ext>
            </a:extLst>
          </p:cNvPr>
          <p:cNvCxnSpPr>
            <a:cxnSpLocks/>
          </p:cNvCxnSpPr>
          <p:nvPr/>
        </p:nvCxnSpPr>
        <p:spPr>
          <a:xfrm>
            <a:off x="2319907" y="2239641"/>
            <a:ext cx="0" cy="2835279"/>
          </a:xfrm>
          <a:prstGeom prst="line">
            <a:avLst/>
          </a:prstGeom>
          <a:ln w="1270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6A1E8D8E-45D9-45CF-B945-378797A1A929}"/>
              </a:ext>
            </a:extLst>
          </p:cNvPr>
          <p:cNvSpPr/>
          <p:nvPr/>
        </p:nvSpPr>
        <p:spPr>
          <a:xfrm>
            <a:off x="3850214" y="2498930"/>
            <a:ext cx="1193641" cy="2945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err="1">
                <a:latin typeface="+mj-lt"/>
                <a:cs typeface="Open Sans Bold"/>
              </a:rPr>
              <a:t>ActiveHealth</a:t>
            </a:r>
            <a:endParaRPr lang="en-US" sz="1400" dirty="0">
              <a:latin typeface="+mj-lt"/>
              <a:cs typeface="Open Sans Bold"/>
            </a:endParaRPr>
          </a:p>
        </p:txBody>
      </p:sp>
      <p:sp>
        <p:nvSpPr>
          <p:cNvPr id="112" name="Rectangle 111">
            <a:extLst>
              <a:ext uri="{FF2B5EF4-FFF2-40B4-BE49-F238E27FC236}">
                <a16:creationId xmlns:a16="http://schemas.microsoft.com/office/drawing/2014/main" id="{9CB35C75-D8EC-42B4-BC04-EEC887A66008}"/>
              </a:ext>
            </a:extLst>
          </p:cNvPr>
          <p:cNvSpPr/>
          <p:nvPr/>
        </p:nvSpPr>
        <p:spPr>
          <a:xfrm>
            <a:off x="3826362" y="3239961"/>
            <a:ext cx="1241880" cy="24796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err="1">
                <a:latin typeface="+mj-lt"/>
                <a:cs typeface="Open Sans Bold"/>
              </a:rPr>
              <a:t>ActiveAdvice</a:t>
            </a:r>
            <a:endParaRPr lang="en-US" sz="1400" dirty="0">
              <a:latin typeface="+mj-lt"/>
              <a:cs typeface="Open Sans Bold"/>
            </a:endParaRPr>
          </a:p>
        </p:txBody>
      </p:sp>
      <p:cxnSp>
        <p:nvCxnSpPr>
          <p:cNvPr id="113" name="Straight Connector 112">
            <a:extLst>
              <a:ext uri="{FF2B5EF4-FFF2-40B4-BE49-F238E27FC236}">
                <a16:creationId xmlns:a16="http://schemas.microsoft.com/office/drawing/2014/main" id="{2052127B-48B8-4F58-BECC-8B94FBD66C62}"/>
              </a:ext>
            </a:extLst>
          </p:cNvPr>
          <p:cNvCxnSpPr>
            <a:cxnSpLocks/>
            <a:stCxn id="111" idx="2"/>
            <a:endCxn id="112" idx="0"/>
          </p:cNvCxnSpPr>
          <p:nvPr/>
        </p:nvCxnSpPr>
        <p:spPr>
          <a:xfrm>
            <a:off x="4447035" y="2793506"/>
            <a:ext cx="267" cy="446455"/>
          </a:xfrm>
          <a:prstGeom prst="line">
            <a:avLst/>
          </a:prstGeom>
          <a:ln w="1270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ABCF75F4-3B9E-4539-9E8D-C0928F7FA5D8}"/>
              </a:ext>
            </a:extLst>
          </p:cNvPr>
          <p:cNvCxnSpPr>
            <a:cxnSpLocks/>
          </p:cNvCxnSpPr>
          <p:nvPr/>
        </p:nvCxnSpPr>
        <p:spPr>
          <a:xfrm>
            <a:off x="3738007" y="2290225"/>
            <a:ext cx="17668" cy="2784695"/>
          </a:xfrm>
          <a:prstGeom prst="line">
            <a:avLst/>
          </a:prstGeom>
          <a:ln w="1270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21" name="Rectangle 120">
            <a:extLst>
              <a:ext uri="{FF2B5EF4-FFF2-40B4-BE49-F238E27FC236}">
                <a16:creationId xmlns:a16="http://schemas.microsoft.com/office/drawing/2014/main" id="{DA3C507E-E1CA-4A7B-9B22-6486F5620505}"/>
              </a:ext>
            </a:extLst>
          </p:cNvPr>
          <p:cNvSpPr/>
          <p:nvPr/>
        </p:nvSpPr>
        <p:spPr>
          <a:xfrm>
            <a:off x="5312130" y="2514170"/>
            <a:ext cx="1193641" cy="2945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mj-lt"/>
                <a:cs typeface="Open Sans Bold"/>
              </a:rPr>
              <a:t>EAP</a:t>
            </a:r>
          </a:p>
        </p:txBody>
      </p:sp>
      <p:sp>
        <p:nvSpPr>
          <p:cNvPr id="122" name="Rectangle 121">
            <a:extLst>
              <a:ext uri="{FF2B5EF4-FFF2-40B4-BE49-F238E27FC236}">
                <a16:creationId xmlns:a16="http://schemas.microsoft.com/office/drawing/2014/main" id="{F447B9E9-7D2E-4D3F-81EB-3E83E5E6EF00}"/>
              </a:ext>
            </a:extLst>
          </p:cNvPr>
          <p:cNvSpPr/>
          <p:nvPr/>
        </p:nvSpPr>
        <p:spPr>
          <a:xfrm>
            <a:off x="5303452" y="3239961"/>
            <a:ext cx="1241880" cy="24796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err="1">
                <a:latin typeface="+mj-lt"/>
                <a:cs typeface="Open Sans Bold"/>
              </a:rPr>
              <a:t>Incedo</a:t>
            </a:r>
            <a:endParaRPr lang="en-US" sz="1400" dirty="0">
              <a:latin typeface="+mj-lt"/>
              <a:cs typeface="Open Sans Bold"/>
            </a:endParaRPr>
          </a:p>
        </p:txBody>
      </p:sp>
      <p:cxnSp>
        <p:nvCxnSpPr>
          <p:cNvPr id="123" name="Straight Connector 122">
            <a:extLst>
              <a:ext uri="{FF2B5EF4-FFF2-40B4-BE49-F238E27FC236}">
                <a16:creationId xmlns:a16="http://schemas.microsoft.com/office/drawing/2014/main" id="{84EA9F24-D67E-40CF-8CB1-4A42239212E8}"/>
              </a:ext>
            </a:extLst>
          </p:cNvPr>
          <p:cNvCxnSpPr>
            <a:cxnSpLocks/>
            <a:stCxn id="121" idx="2"/>
            <a:endCxn id="122" idx="0"/>
          </p:cNvCxnSpPr>
          <p:nvPr/>
        </p:nvCxnSpPr>
        <p:spPr>
          <a:xfrm>
            <a:off x="5908951" y="2808746"/>
            <a:ext cx="15441" cy="431215"/>
          </a:xfrm>
          <a:prstGeom prst="line">
            <a:avLst/>
          </a:prstGeom>
          <a:ln w="1270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992563D5-E081-4883-805D-939F587FAA88}"/>
              </a:ext>
            </a:extLst>
          </p:cNvPr>
          <p:cNvCxnSpPr>
            <a:cxnSpLocks/>
          </p:cNvCxnSpPr>
          <p:nvPr/>
        </p:nvCxnSpPr>
        <p:spPr>
          <a:xfrm>
            <a:off x="5202839" y="2290225"/>
            <a:ext cx="0" cy="2784695"/>
          </a:xfrm>
          <a:prstGeom prst="line">
            <a:avLst/>
          </a:prstGeom>
          <a:ln w="1270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626CCD4-85A1-48B2-87D7-4E3B4E534A93}"/>
              </a:ext>
            </a:extLst>
          </p:cNvPr>
          <p:cNvCxnSpPr>
            <a:cxnSpLocks/>
          </p:cNvCxnSpPr>
          <p:nvPr/>
        </p:nvCxnSpPr>
        <p:spPr>
          <a:xfrm>
            <a:off x="6709855" y="2290225"/>
            <a:ext cx="0" cy="2784695"/>
          </a:xfrm>
          <a:prstGeom prst="line">
            <a:avLst/>
          </a:prstGeom>
          <a:ln w="1270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30" name="Rectangle 129">
            <a:extLst>
              <a:ext uri="{FF2B5EF4-FFF2-40B4-BE49-F238E27FC236}">
                <a16:creationId xmlns:a16="http://schemas.microsoft.com/office/drawing/2014/main" id="{C56AEC45-05D1-4096-BFD7-0F55AA375933}"/>
              </a:ext>
            </a:extLst>
          </p:cNvPr>
          <p:cNvSpPr/>
          <p:nvPr/>
        </p:nvSpPr>
        <p:spPr>
          <a:xfrm>
            <a:off x="6790410" y="2544650"/>
            <a:ext cx="1193641" cy="2945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mj-lt"/>
                <a:cs typeface="Open Sans Bold"/>
              </a:rPr>
              <a:t>Coventry</a:t>
            </a:r>
          </a:p>
        </p:txBody>
      </p:sp>
      <p:cxnSp>
        <p:nvCxnSpPr>
          <p:cNvPr id="131" name="Straight Connector 130">
            <a:extLst>
              <a:ext uri="{FF2B5EF4-FFF2-40B4-BE49-F238E27FC236}">
                <a16:creationId xmlns:a16="http://schemas.microsoft.com/office/drawing/2014/main" id="{76AA4CB8-7A81-467E-A027-053DBF06F1EB}"/>
              </a:ext>
            </a:extLst>
          </p:cNvPr>
          <p:cNvCxnSpPr>
            <a:cxnSpLocks/>
            <a:stCxn id="130" idx="2"/>
          </p:cNvCxnSpPr>
          <p:nvPr/>
        </p:nvCxnSpPr>
        <p:spPr>
          <a:xfrm flipH="1">
            <a:off x="7387230" y="2839226"/>
            <a:ext cx="1" cy="402768"/>
          </a:xfrm>
          <a:prstGeom prst="line">
            <a:avLst/>
          </a:prstGeom>
          <a:ln w="1270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35" name="Rectangle 134">
            <a:extLst>
              <a:ext uri="{FF2B5EF4-FFF2-40B4-BE49-F238E27FC236}">
                <a16:creationId xmlns:a16="http://schemas.microsoft.com/office/drawing/2014/main" id="{C57A7E9B-A53F-4EB9-9335-4ECDC4701FA3}"/>
              </a:ext>
            </a:extLst>
          </p:cNvPr>
          <p:cNvSpPr/>
          <p:nvPr/>
        </p:nvSpPr>
        <p:spPr>
          <a:xfrm>
            <a:off x="6765375" y="3071541"/>
            <a:ext cx="1241880" cy="51201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err="1">
                <a:latin typeface="+mj-lt"/>
                <a:cs typeface="Open Sans Bold"/>
              </a:rPr>
              <a:t>NavCare</a:t>
            </a:r>
            <a:endParaRPr lang="en-US" sz="1400" dirty="0">
              <a:latin typeface="+mj-lt"/>
              <a:cs typeface="Open Sans Bold"/>
            </a:endParaRPr>
          </a:p>
          <a:p>
            <a:pPr algn="ctr"/>
            <a:r>
              <a:rPr lang="en-US" sz="1400" dirty="0">
                <a:latin typeface="+mj-lt"/>
                <a:cs typeface="Open Sans Bold"/>
              </a:rPr>
              <a:t>IDX</a:t>
            </a:r>
          </a:p>
        </p:txBody>
      </p:sp>
      <p:sp>
        <p:nvSpPr>
          <p:cNvPr id="138" name="TextBox 137">
            <a:extLst>
              <a:ext uri="{FF2B5EF4-FFF2-40B4-BE49-F238E27FC236}">
                <a16:creationId xmlns:a16="http://schemas.microsoft.com/office/drawing/2014/main" id="{924D3EC0-9A7E-4B46-AB8C-8547D62C5366}"/>
              </a:ext>
            </a:extLst>
          </p:cNvPr>
          <p:cNvSpPr txBox="1"/>
          <p:nvPr/>
        </p:nvSpPr>
        <p:spPr>
          <a:xfrm>
            <a:off x="8837673" y="1823778"/>
            <a:ext cx="2370918" cy="348727"/>
          </a:xfrm>
          <a:prstGeom prst="rect">
            <a:avLst/>
          </a:prstGeom>
          <a:noFill/>
        </p:spPr>
        <p:txBody>
          <a:bodyPr wrap="square" lIns="0" tIns="0" rIns="0" bIns="0" rtlCol="0">
            <a:noAutofit/>
          </a:bodyPr>
          <a:lstStyle/>
          <a:p>
            <a:pPr defTabSz="456758" fontAlgn="base">
              <a:spcBef>
                <a:spcPts val="1200"/>
              </a:spcBef>
            </a:pPr>
            <a:r>
              <a:rPr lang="en-US" sz="2400" b="1" dirty="0">
                <a:solidFill>
                  <a:schemeClr val="accent2"/>
                </a:solidFill>
                <a:cs typeface="Open Sans Light"/>
              </a:rPr>
              <a:t>PBM and Retail</a:t>
            </a:r>
          </a:p>
        </p:txBody>
      </p:sp>
      <p:sp>
        <p:nvSpPr>
          <p:cNvPr id="139" name="Rectangle 138">
            <a:extLst>
              <a:ext uri="{FF2B5EF4-FFF2-40B4-BE49-F238E27FC236}">
                <a16:creationId xmlns:a16="http://schemas.microsoft.com/office/drawing/2014/main" id="{53F34A79-312B-4A54-B56A-8C57D4EBAF81}"/>
              </a:ext>
            </a:extLst>
          </p:cNvPr>
          <p:cNvSpPr/>
          <p:nvPr/>
        </p:nvSpPr>
        <p:spPr>
          <a:xfrm>
            <a:off x="9706501" y="2544648"/>
            <a:ext cx="1155524" cy="2945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mj-lt"/>
                <a:cs typeface="Open Sans Bold"/>
              </a:rPr>
              <a:t>Accordant</a:t>
            </a:r>
          </a:p>
        </p:txBody>
      </p:sp>
      <p:cxnSp>
        <p:nvCxnSpPr>
          <p:cNvPr id="140" name="Straight Connector 139">
            <a:extLst>
              <a:ext uri="{FF2B5EF4-FFF2-40B4-BE49-F238E27FC236}">
                <a16:creationId xmlns:a16="http://schemas.microsoft.com/office/drawing/2014/main" id="{D158AF29-5BD6-4236-8434-145DBAB5DCB9}"/>
              </a:ext>
            </a:extLst>
          </p:cNvPr>
          <p:cNvCxnSpPr>
            <a:cxnSpLocks/>
            <a:stCxn id="139" idx="2"/>
            <a:endCxn id="144" idx="0"/>
          </p:cNvCxnSpPr>
          <p:nvPr/>
        </p:nvCxnSpPr>
        <p:spPr>
          <a:xfrm flipH="1">
            <a:off x="9715164" y="2839225"/>
            <a:ext cx="569099" cy="392060"/>
          </a:xfrm>
          <a:prstGeom prst="line">
            <a:avLst/>
          </a:prstGeom>
          <a:ln w="1270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44" name="Rectangle 143">
            <a:extLst>
              <a:ext uri="{FF2B5EF4-FFF2-40B4-BE49-F238E27FC236}">
                <a16:creationId xmlns:a16="http://schemas.microsoft.com/office/drawing/2014/main" id="{1836AC36-0763-4413-8BA8-ADE1ED700442}"/>
              </a:ext>
            </a:extLst>
          </p:cNvPr>
          <p:cNvSpPr/>
          <p:nvPr/>
        </p:nvSpPr>
        <p:spPr>
          <a:xfrm>
            <a:off x="8657532" y="3231285"/>
            <a:ext cx="2115264" cy="27084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mj-lt"/>
                <a:cs typeface="Open Sans Bold"/>
              </a:rPr>
              <a:t>Epic</a:t>
            </a:r>
          </a:p>
        </p:txBody>
      </p:sp>
      <p:sp>
        <p:nvSpPr>
          <p:cNvPr id="149" name="Rectangle 148">
            <a:extLst>
              <a:ext uri="{FF2B5EF4-FFF2-40B4-BE49-F238E27FC236}">
                <a16:creationId xmlns:a16="http://schemas.microsoft.com/office/drawing/2014/main" id="{27A3E994-AAE2-4280-8130-9B7D4ED0137A}"/>
              </a:ext>
            </a:extLst>
          </p:cNvPr>
          <p:cNvSpPr/>
          <p:nvPr/>
        </p:nvSpPr>
        <p:spPr>
          <a:xfrm>
            <a:off x="10987313" y="2544649"/>
            <a:ext cx="1029329" cy="3007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err="1">
                <a:latin typeface="+mj-lt"/>
                <a:cs typeface="Open Sans Bold"/>
              </a:rPr>
              <a:t>OmniCare</a:t>
            </a:r>
            <a:endParaRPr lang="en-US" sz="1400" dirty="0">
              <a:latin typeface="+mj-lt"/>
              <a:cs typeface="Open Sans Bold"/>
            </a:endParaRPr>
          </a:p>
        </p:txBody>
      </p:sp>
      <p:cxnSp>
        <p:nvCxnSpPr>
          <p:cNvPr id="150" name="Straight Connector 149">
            <a:extLst>
              <a:ext uri="{FF2B5EF4-FFF2-40B4-BE49-F238E27FC236}">
                <a16:creationId xmlns:a16="http://schemas.microsoft.com/office/drawing/2014/main" id="{B5321A5C-6CDE-4C49-BF0D-397708238441}"/>
              </a:ext>
            </a:extLst>
          </p:cNvPr>
          <p:cNvCxnSpPr>
            <a:cxnSpLocks/>
            <a:stCxn id="149" idx="2"/>
            <a:endCxn id="154" idx="0"/>
          </p:cNvCxnSpPr>
          <p:nvPr/>
        </p:nvCxnSpPr>
        <p:spPr>
          <a:xfrm flipH="1">
            <a:off x="11501977" y="2845353"/>
            <a:ext cx="1" cy="385932"/>
          </a:xfrm>
          <a:prstGeom prst="line">
            <a:avLst/>
          </a:prstGeom>
          <a:ln w="1270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54" name="Rectangle 153">
            <a:extLst>
              <a:ext uri="{FF2B5EF4-FFF2-40B4-BE49-F238E27FC236}">
                <a16:creationId xmlns:a16="http://schemas.microsoft.com/office/drawing/2014/main" id="{889D11CA-9763-4058-85FB-6E130C041011}"/>
              </a:ext>
            </a:extLst>
          </p:cNvPr>
          <p:cNvSpPr/>
          <p:nvPr/>
        </p:nvSpPr>
        <p:spPr>
          <a:xfrm>
            <a:off x="10881037" y="3231285"/>
            <a:ext cx="1241880" cy="24796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err="1">
                <a:latin typeface="+mj-lt"/>
                <a:cs typeface="Open Sans Bold"/>
              </a:rPr>
              <a:t>OmniDx</a:t>
            </a:r>
            <a:endParaRPr lang="en-US" sz="1400" dirty="0">
              <a:latin typeface="+mj-lt"/>
              <a:cs typeface="Open Sans Bold"/>
            </a:endParaRPr>
          </a:p>
        </p:txBody>
      </p:sp>
      <p:sp>
        <p:nvSpPr>
          <p:cNvPr id="175" name="Rectangle 174">
            <a:extLst>
              <a:ext uri="{FF2B5EF4-FFF2-40B4-BE49-F238E27FC236}">
                <a16:creationId xmlns:a16="http://schemas.microsoft.com/office/drawing/2014/main" id="{C31C0F05-81C0-47B4-972C-74129CFF784D}"/>
              </a:ext>
            </a:extLst>
          </p:cNvPr>
          <p:cNvSpPr/>
          <p:nvPr/>
        </p:nvSpPr>
        <p:spPr>
          <a:xfrm>
            <a:off x="60140" y="3207553"/>
            <a:ext cx="1280125" cy="2945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err="1">
                <a:latin typeface="+mj-lt"/>
                <a:cs typeface="Open Sans Bold"/>
              </a:rPr>
              <a:t>MedCompass</a:t>
            </a:r>
            <a:endParaRPr lang="en-US" sz="1400" dirty="0">
              <a:latin typeface="+mj-lt"/>
              <a:cs typeface="Open Sans Bold"/>
            </a:endParaRPr>
          </a:p>
        </p:txBody>
      </p:sp>
      <p:cxnSp>
        <p:nvCxnSpPr>
          <p:cNvPr id="177" name="Straight Connector 176">
            <a:extLst>
              <a:ext uri="{FF2B5EF4-FFF2-40B4-BE49-F238E27FC236}">
                <a16:creationId xmlns:a16="http://schemas.microsoft.com/office/drawing/2014/main" id="{0A523F20-FC2F-41A8-9F28-1F4D43440788}"/>
              </a:ext>
            </a:extLst>
          </p:cNvPr>
          <p:cNvCxnSpPr>
            <a:cxnSpLocks/>
          </p:cNvCxnSpPr>
          <p:nvPr/>
        </p:nvCxnSpPr>
        <p:spPr>
          <a:xfrm>
            <a:off x="658885" y="2793506"/>
            <a:ext cx="50" cy="402768"/>
          </a:xfrm>
          <a:prstGeom prst="line">
            <a:avLst/>
          </a:prstGeom>
          <a:ln w="12700" cmpd="sng">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78" name="Group 177">
            <a:extLst>
              <a:ext uri="{FF2B5EF4-FFF2-40B4-BE49-F238E27FC236}">
                <a16:creationId xmlns:a16="http://schemas.microsoft.com/office/drawing/2014/main" id="{9702E22A-067C-4F2A-AA7F-EA1659C4C7AA}"/>
              </a:ext>
            </a:extLst>
          </p:cNvPr>
          <p:cNvGrpSpPr/>
          <p:nvPr/>
        </p:nvGrpSpPr>
        <p:grpSpPr>
          <a:xfrm>
            <a:off x="361378" y="3699600"/>
            <a:ext cx="642084" cy="463708"/>
            <a:chOff x="398611" y="3748233"/>
            <a:chExt cx="642084" cy="463708"/>
          </a:xfrm>
        </p:grpSpPr>
        <p:sp>
          <p:nvSpPr>
            <p:cNvPr id="179" name="Freeform 24">
              <a:extLst>
                <a:ext uri="{FF2B5EF4-FFF2-40B4-BE49-F238E27FC236}">
                  <a16:creationId xmlns:a16="http://schemas.microsoft.com/office/drawing/2014/main" id="{65E7C586-FF09-4B6C-96FC-929804B42FB5}"/>
                </a:ext>
              </a:extLst>
            </p:cNvPr>
            <p:cNvSpPr>
              <a:spLocks noEditPoints="1"/>
            </p:cNvSpPr>
            <p:nvPr/>
          </p:nvSpPr>
          <p:spPr bwMode="auto">
            <a:xfrm>
              <a:off x="468348" y="3748233"/>
              <a:ext cx="448797" cy="294576"/>
            </a:xfrm>
            <a:custGeom>
              <a:avLst/>
              <a:gdLst/>
              <a:ahLst/>
              <a:cxnLst>
                <a:cxn ang="0">
                  <a:pos x="231" y="141"/>
                </a:cxn>
                <a:cxn ang="0">
                  <a:pos x="206" y="82"/>
                </a:cxn>
                <a:cxn ang="0">
                  <a:pos x="217" y="156"/>
                </a:cxn>
                <a:cxn ang="0">
                  <a:pos x="210" y="168"/>
                </a:cxn>
                <a:cxn ang="0">
                  <a:pos x="208" y="165"/>
                </a:cxn>
                <a:cxn ang="0">
                  <a:pos x="157" y="137"/>
                </a:cxn>
                <a:cxn ang="0">
                  <a:pos x="141" y="71"/>
                </a:cxn>
                <a:cxn ang="0">
                  <a:pos x="144" y="62"/>
                </a:cxn>
                <a:cxn ang="0">
                  <a:pos x="201" y="48"/>
                </a:cxn>
                <a:cxn ang="0">
                  <a:pos x="219" y="62"/>
                </a:cxn>
                <a:cxn ang="0">
                  <a:pos x="234" y="141"/>
                </a:cxn>
                <a:cxn ang="0">
                  <a:pos x="170" y="198"/>
                </a:cxn>
                <a:cxn ang="0">
                  <a:pos x="164" y="242"/>
                </a:cxn>
                <a:cxn ang="0">
                  <a:pos x="81" y="242"/>
                </a:cxn>
                <a:cxn ang="0">
                  <a:pos x="75" y="198"/>
                </a:cxn>
                <a:cxn ang="0">
                  <a:pos x="40" y="219"/>
                </a:cxn>
                <a:cxn ang="0">
                  <a:pos x="48" y="169"/>
                </a:cxn>
                <a:cxn ang="0">
                  <a:pos x="104" y="149"/>
                </a:cxn>
                <a:cxn ang="0">
                  <a:pos x="141" y="149"/>
                </a:cxn>
                <a:cxn ang="0">
                  <a:pos x="196" y="169"/>
                </a:cxn>
                <a:cxn ang="0">
                  <a:pos x="204" y="219"/>
                </a:cxn>
                <a:cxn ang="0">
                  <a:pos x="35" y="169"/>
                </a:cxn>
                <a:cxn ang="0">
                  <a:pos x="36" y="80"/>
                </a:cxn>
                <a:cxn ang="0">
                  <a:pos x="21" y="131"/>
                </a:cxn>
                <a:cxn ang="0">
                  <a:pos x="9" y="140"/>
                </a:cxn>
                <a:cxn ang="0">
                  <a:pos x="12" y="61"/>
                </a:cxn>
                <a:cxn ang="0">
                  <a:pos x="31" y="47"/>
                </a:cxn>
                <a:cxn ang="0">
                  <a:pos x="62" y="69"/>
                </a:cxn>
                <a:cxn ang="0">
                  <a:pos x="94" y="47"/>
                </a:cxn>
                <a:cxn ang="0">
                  <a:pos x="113" y="61"/>
                </a:cxn>
                <a:cxn ang="0">
                  <a:pos x="91" y="80"/>
                </a:cxn>
                <a:cxn ang="0">
                  <a:pos x="90" y="81"/>
                </a:cxn>
                <a:cxn ang="0">
                  <a:pos x="87" y="137"/>
                </a:cxn>
                <a:cxn ang="0">
                  <a:pos x="36" y="165"/>
                </a:cxn>
                <a:cxn ang="0">
                  <a:pos x="62" y="0"/>
                </a:cxn>
                <a:cxn ang="0">
                  <a:pos x="62" y="40"/>
                </a:cxn>
                <a:cxn ang="0">
                  <a:pos x="62" y="0"/>
                </a:cxn>
                <a:cxn ang="0">
                  <a:pos x="154" y="110"/>
                </a:cxn>
                <a:cxn ang="0">
                  <a:pos x="91" y="110"/>
                </a:cxn>
                <a:cxn ang="0">
                  <a:pos x="182" y="0"/>
                </a:cxn>
                <a:cxn ang="0">
                  <a:pos x="182" y="40"/>
                </a:cxn>
                <a:cxn ang="0">
                  <a:pos x="182" y="0"/>
                </a:cxn>
              </a:cxnLst>
              <a:rect l="0" t="0" r="r" b="b"/>
              <a:pathLst>
                <a:path w="241" h="248">
                  <a:moveTo>
                    <a:pt x="234" y="141"/>
                  </a:moveTo>
                  <a:cubicBezTo>
                    <a:pt x="233" y="141"/>
                    <a:pt x="232" y="141"/>
                    <a:pt x="231" y="141"/>
                  </a:cubicBezTo>
                  <a:cubicBezTo>
                    <a:pt x="227" y="141"/>
                    <a:pt x="223" y="139"/>
                    <a:pt x="222" y="134"/>
                  </a:cubicBezTo>
                  <a:cubicBezTo>
                    <a:pt x="206" y="82"/>
                    <a:pt x="206" y="82"/>
                    <a:pt x="206" y="82"/>
                  </a:cubicBezTo>
                  <a:cubicBezTo>
                    <a:pt x="198" y="82"/>
                    <a:pt x="198" y="82"/>
                    <a:pt x="198" y="82"/>
                  </a:cubicBezTo>
                  <a:cubicBezTo>
                    <a:pt x="217" y="156"/>
                    <a:pt x="217" y="156"/>
                    <a:pt x="217" y="156"/>
                  </a:cubicBezTo>
                  <a:cubicBezTo>
                    <a:pt x="218" y="157"/>
                    <a:pt x="218" y="158"/>
                    <a:pt x="218" y="160"/>
                  </a:cubicBezTo>
                  <a:cubicBezTo>
                    <a:pt x="218" y="164"/>
                    <a:pt x="214" y="168"/>
                    <a:pt x="210" y="168"/>
                  </a:cubicBezTo>
                  <a:cubicBezTo>
                    <a:pt x="209" y="168"/>
                    <a:pt x="209" y="168"/>
                    <a:pt x="209" y="168"/>
                  </a:cubicBezTo>
                  <a:cubicBezTo>
                    <a:pt x="208" y="167"/>
                    <a:pt x="208" y="166"/>
                    <a:pt x="208" y="165"/>
                  </a:cubicBezTo>
                  <a:cubicBezTo>
                    <a:pt x="203" y="148"/>
                    <a:pt x="186" y="137"/>
                    <a:pt x="168" y="137"/>
                  </a:cubicBezTo>
                  <a:cubicBezTo>
                    <a:pt x="157" y="137"/>
                    <a:pt x="157" y="137"/>
                    <a:pt x="157" y="137"/>
                  </a:cubicBezTo>
                  <a:cubicBezTo>
                    <a:pt x="163" y="129"/>
                    <a:pt x="166" y="120"/>
                    <a:pt x="166" y="110"/>
                  </a:cubicBezTo>
                  <a:cubicBezTo>
                    <a:pt x="166" y="93"/>
                    <a:pt x="156" y="78"/>
                    <a:pt x="141" y="71"/>
                  </a:cubicBezTo>
                  <a:cubicBezTo>
                    <a:pt x="144" y="62"/>
                    <a:pt x="144" y="62"/>
                    <a:pt x="144" y="62"/>
                  </a:cubicBezTo>
                  <a:cubicBezTo>
                    <a:pt x="144" y="62"/>
                    <a:pt x="144" y="62"/>
                    <a:pt x="144" y="62"/>
                  </a:cubicBezTo>
                  <a:cubicBezTo>
                    <a:pt x="147" y="53"/>
                    <a:pt x="154" y="48"/>
                    <a:pt x="162" y="48"/>
                  </a:cubicBezTo>
                  <a:cubicBezTo>
                    <a:pt x="201" y="48"/>
                    <a:pt x="201" y="48"/>
                    <a:pt x="201" y="48"/>
                  </a:cubicBezTo>
                  <a:cubicBezTo>
                    <a:pt x="209" y="48"/>
                    <a:pt x="216" y="53"/>
                    <a:pt x="219" y="62"/>
                  </a:cubicBezTo>
                  <a:cubicBezTo>
                    <a:pt x="219" y="62"/>
                    <a:pt x="219" y="62"/>
                    <a:pt x="219" y="62"/>
                  </a:cubicBezTo>
                  <a:cubicBezTo>
                    <a:pt x="240" y="129"/>
                    <a:pt x="240" y="129"/>
                    <a:pt x="240" y="129"/>
                  </a:cubicBezTo>
                  <a:cubicBezTo>
                    <a:pt x="241" y="134"/>
                    <a:pt x="238" y="139"/>
                    <a:pt x="234" y="141"/>
                  </a:cubicBezTo>
                  <a:close/>
                  <a:moveTo>
                    <a:pt x="176" y="237"/>
                  </a:moveTo>
                  <a:cubicBezTo>
                    <a:pt x="170" y="198"/>
                    <a:pt x="170" y="198"/>
                    <a:pt x="170" y="198"/>
                  </a:cubicBezTo>
                  <a:cubicBezTo>
                    <a:pt x="162" y="198"/>
                    <a:pt x="162" y="198"/>
                    <a:pt x="162" y="198"/>
                  </a:cubicBezTo>
                  <a:cubicBezTo>
                    <a:pt x="164" y="242"/>
                    <a:pt x="164" y="242"/>
                    <a:pt x="164" y="242"/>
                  </a:cubicBezTo>
                  <a:cubicBezTo>
                    <a:pt x="151" y="246"/>
                    <a:pt x="137" y="248"/>
                    <a:pt x="122" y="248"/>
                  </a:cubicBezTo>
                  <a:cubicBezTo>
                    <a:pt x="108" y="248"/>
                    <a:pt x="94" y="246"/>
                    <a:pt x="81" y="242"/>
                  </a:cubicBezTo>
                  <a:cubicBezTo>
                    <a:pt x="83" y="198"/>
                    <a:pt x="83" y="198"/>
                    <a:pt x="83" y="198"/>
                  </a:cubicBezTo>
                  <a:cubicBezTo>
                    <a:pt x="75" y="198"/>
                    <a:pt x="75" y="198"/>
                    <a:pt x="75" y="198"/>
                  </a:cubicBezTo>
                  <a:cubicBezTo>
                    <a:pt x="67" y="237"/>
                    <a:pt x="67" y="237"/>
                    <a:pt x="67" y="237"/>
                  </a:cubicBezTo>
                  <a:cubicBezTo>
                    <a:pt x="57" y="232"/>
                    <a:pt x="48" y="226"/>
                    <a:pt x="40" y="219"/>
                  </a:cubicBezTo>
                  <a:cubicBezTo>
                    <a:pt x="48" y="171"/>
                    <a:pt x="48" y="171"/>
                    <a:pt x="48" y="171"/>
                  </a:cubicBezTo>
                  <a:cubicBezTo>
                    <a:pt x="48" y="170"/>
                    <a:pt x="48" y="169"/>
                    <a:pt x="48" y="169"/>
                  </a:cubicBezTo>
                  <a:cubicBezTo>
                    <a:pt x="52" y="157"/>
                    <a:pt x="63" y="149"/>
                    <a:pt x="77" y="149"/>
                  </a:cubicBezTo>
                  <a:cubicBezTo>
                    <a:pt x="104" y="149"/>
                    <a:pt x="104" y="149"/>
                    <a:pt x="104" y="149"/>
                  </a:cubicBezTo>
                  <a:cubicBezTo>
                    <a:pt x="123" y="182"/>
                    <a:pt x="123" y="182"/>
                    <a:pt x="123" y="182"/>
                  </a:cubicBezTo>
                  <a:cubicBezTo>
                    <a:pt x="141" y="149"/>
                    <a:pt x="141" y="149"/>
                    <a:pt x="141" y="149"/>
                  </a:cubicBezTo>
                  <a:cubicBezTo>
                    <a:pt x="168" y="149"/>
                    <a:pt x="168" y="149"/>
                    <a:pt x="168" y="149"/>
                  </a:cubicBezTo>
                  <a:cubicBezTo>
                    <a:pt x="181" y="149"/>
                    <a:pt x="192" y="157"/>
                    <a:pt x="196" y="169"/>
                  </a:cubicBezTo>
                  <a:cubicBezTo>
                    <a:pt x="196" y="169"/>
                    <a:pt x="196" y="170"/>
                    <a:pt x="196" y="171"/>
                  </a:cubicBezTo>
                  <a:cubicBezTo>
                    <a:pt x="204" y="219"/>
                    <a:pt x="204" y="219"/>
                    <a:pt x="204" y="219"/>
                  </a:cubicBezTo>
                  <a:cubicBezTo>
                    <a:pt x="196" y="226"/>
                    <a:pt x="186" y="232"/>
                    <a:pt x="176" y="237"/>
                  </a:cubicBezTo>
                  <a:close/>
                  <a:moveTo>
                    <a:pt x="35" y="169"/>
                  </a:moveTo>
                  <a:cubicBezTo>
                    <a:pt x="34" y="174"/>
                    <a:pt x="34" y="174"/>
                    <a:pt x="34" y="174"/>
                  </a:cubicBezTo>
                  <a:cubicBezTo>
                    <a:pt x="36" y="80"/>
                    <a:pt x="36" y="80"/>
                    <a:pt x="36" y="80"/>
                  </a:cubicBezTo>
                  <a:cubicBezTo>
                    <a:pt x="30" y="80"/>
                    <a:pt x="30" y="80"/>
                    <a:pt x="30" y="80"/>
                  </a:cubicBezTo>
                  <a:cubicBezTo>
                    <a:pt x="21" y="131"/>
                    <a:pt x="21" y="131"/>
                    <a:pt x="21" y="131"/>
                  </a:cubicBezTo>
                  <a:cubicBezTo>
                    <a:pt x="20" y="136"/>
                    <a:pt x="16" y="140"/>
                    <a:pt x="11" y="140"/>
                  </a:cubicBezTo>
                  <a:cubicBezTo>
                    <a:pt x="11" y="140"/>
                    <a:pt x="10" y="140"/>
                    <a:pt x="9" y="140"/>
                  </a:cubicBezTo>
                  <a:cubicBezTo>
                    <a:pt x="4" y="139"/>
                    <a:pt x="0" y="133"/>
                    <a:pt x="1" y="128"/>
                  </a:cubicBezTo>
                  <a:cubicBezTo>
                    <a:pt x="12" y="61"/>
                    <a:pt x="12" y="61"/>
                    <a:pt x="12" y="61"/>
                  </a:cubicBezTo>
                  <a:cubicBezTo>
                    <a:pt x="12" y="60"/>
                    <a:pt x="12" y="60"/>
                    <a:pt x="12" y="60"/>
                  </a:cubicBezTo>
                  <a:cubicBezTo>
                    <a:pt x="15" y="52"/>
                    <a:pt x="23" y="47"/>
                    <a:pt x="31" y="47"/>
                  </a:cubicBezTo>
                  <a:cubicBezTo>
                    <a:pt x="49" y="47"/>
                    <a:pt x="49" y="47"/>
                    <a:pt x="49" y="47"/>
                  </a:cubicBezTo>
                  <a:cubicBezTo>
                    <a:pt x="62" y="69"/>
                    <a:pt x="62" y="69"/>
                    <a:pt x="62" y="69"/>
                  </a:cubicBezTo>
                  <a:cubicBezTo>
                    <a:pt x="76" y="47"/>
                    <a:pt x="76" y="47"/>
                    <a:pt x="76" y="47"/>
                  </a:cubicBezTo>
                  <a:cubicBezTo>
                    <a:pt x="94" y="47"/>
                    <a:pt x="94" y="47"/>
                    <a:pt x="94" y="47"/>
                  </a:cubicBezTo>
                  <a:cubicBezTo>
                    <a:pt x="103" y="47"/>
                    <a:pt x="110" y="52"/>
                    <a:pt x="113" y="60"/>
                  </a:cubicBezTo>
                  <a:cubicBezTo>
                    <a:pt x="113" y="61"/>
                    <a:pt x="113" y="61"/>
                    <a:pt x="113" y="61"/>
                  </a:cubicBezTo>
                  <a:cubicBezTo>
                    <a:pt x="114" y="67"/>
                    <a:pt x="114" y="67"/>
                    <a:pt x="114" y="67"/>
                  </a:cubicBezTo>
                  <a:cubicBezTo>
                    <a:pt x="105" y="69"/>
                    <a:pt x="97" y="73"/>
                    <a:pt x="91" y="80"/>
                  </a:cubicBezTo>
                  <a:cubicBezTo>
                    <a:pt x="90" y="80"/>
                    <a:pt x="90" y="80"/>
                    <a:pt x="90" y="80"/>
                  </a:cubicBezTo>
                  <a:cubicBezTo>
                    <a:pt x="90" y="81"/>
                    <a:pt x="90" y="81"/>
                    <a:pt x="90" y="81"/>
                  </a:cubicBezTo>
                  <a:cubicBezTo>
                    <a:pt x="83" y="88"/>
                    <a:pt x="79" y="99"/>
                    <a:pt x="79" y="110"/>
                  </a:cubicBezTo>
                  <a:cubicBezTo>
                    <a:pt x="79" y="120"/>
                    <a:pt x="82" y="129"/>
                    <a:pt x="87" y="137"/>
                  </a:cubicBezTo>
                  <a:cubicBezTo>
                    <a:pt x="77" y="137"/>
                    <a:pt x="77" y="137"/>
                    <a:pt x="77" y="137"/>
                  </a:cubicBezTo>
                  <a:cubicBezTo>
                    <a:pt x="58" y="137"/>
                    <a:pt x="41" y="148"/>
                    <a:pt x="36" y="165"/>
                  </a:cubicBezTo>
                  <a:cubicBezTo>
                    <a:pt x="36" y="166"/>
                    <a:pt x="35" y="167"/>
                    <a:pt x="35" y="169"/>
                  </a:cubicBezTo>
                  <a:close/>
                  <a:moveTo>
                    <a:pt x="62" y="0"/>
                  </a:moveTo>
                  <a:cubicBezTo>
                    <a:pt x="74" y="0"/>
                    <a:pt x="83" y="9"/>
                    <a:pt x="83" y="20"/>
                  </a:cubicBezTo>
                  <a:cubicBezTo>
                    <a:pt x="83" y="31"/>
                    <a:pt x="74" y="40"/>
                    <a:pt x="62" y="40"/>
                  </a:cubicBezTo>
                  <a:cubicBezTo>
                    <a:pt x="51" y="40"/>
                    <a:pt x="42" y="31"/>
                    <a:pt x="42" y="20"/>
                  </a:cubicBezTo>
                  <a:cubicBezTo>
                    <a:pt x="42" y="9"/>
                    <a:pt x="51" y="0"/>
                    <a:pt x="62" y="0"/>
                  </a:cubicBezTo>
                  <a:close/>
                  <a:moveTo>
                    <a:pt x="122" y="79"/>
                  </a:moveTo>
                  <a:cubicBezTo>
                    <a:pt x="140" y="79"/>
                    <a:pt x="154" y="93"/>
                    <a:pt x="154" y="110"/>
                  </a:cubicBezTo>
                  <a:cubicBezTo>
                    <a:pt x="154" y="127"/>
                    <a:pt x="140" y="141"/>
                    <a:pt x="122" y="141"/>
                  </a:cubicBezTo>
                  <a:cubicBezTo>
                    <a:pt x="105" y="141"/>
                    <a:pt x="91" y="127"/>
                    <a:pt x="91" y="110"/>
                  </a:cubicBezTo>
                  <a:cubicBezTo>
                    <a:pt x="91" y="93"/>
                    <a:pt x="105" y="79"/>
                    <a:pt x="122" y="79"/>
                  </a:cubicBezTo>
                  <a:close/>
                  <a:moveTo>
                    <a:pt x="182" y="0"/>
                  </a:moveTo>
                  <a:cubicBezTo>
                    <a:pt x="193" y="0"/>
                    <a:pt x="201" y="9"/>
                    <a:pt x="201" y="20"/>
                  </a:cubicBezTo>
                  <a:cubicBezTo>
                    <a:pt x="201" y="31"/>
                    <a:pt x="193" y="40"/>
                    <a:pt x="182" y="40"/>
                  </a:cubicBezTo>
                  <a:cubicBezTo>
                    <a:pt x="171" y="40"/>
                    <a:pt x="162" y="31"/>
                    <a:pt x="162" y="20"/>
                  </a:cubicBezTo>
                  <a:cubicBezTo>
                    <a:pt x="162" y="9"/>
                    <a:pt x="171" y="0"/>
                    <a:pt x="182" y="0"/>
                  </a:cubicBezTo>
                  <a:close/>
                </a:path>
              </a:pathLst>
            </a:custGeom>
            <a:solidFill>
              <a:schemeClr val="accent2"/>
            </a:solidFill>
            <a:ln w="9525">
              <a:noFill/>
              <a:round/>
              <a:headEnd/>
              <a:tailEnd/>
            </a:ln>
          </p:spPr>
          <p:txBody>
            <a:bodyPr vert="horz" wrap="square" lIns="100817" tIns="50408" rIns="100817" bIns="50408" numCol="1" anchor="t" anchorCtr="0" compatLnSpc="1">
              <a:prstTxWarp prst="textNoShape">
                <a:avLst/>
              </a:prstTxWarp>
            </a:bodyPr>
            <a:lstStyle/>
            <a:p>
              <a:endParaRPr lang="en-US" sz="2205" dirty="0">
                <a:latin typeface="Arial" panose="020B0604020202020204" pitchFamily="34" charset="0"/>
                <a:cs typeface="Arial" panose="020B0604020202020204" pitchFamily="34" charset="0"/>
                <a:sym typeface="Arial" panose="020B0604020202020204" pitchFamily="34" charset="0"/>
              </a:endParaRPr>
            </a:p>
          </p:txBody>
        </p:sp>
        <p:sp>
          <p:nvSpPr>
            <p:cNvPr id="180" name="TextBox 179">
              <a:extLst>
                <a:ext uri="{FF2B5EF4-FFF2-40B4-BE49-F238E27FC236}">
                  <a16:creationId xmlns:a16="http://schemas.microsoft.com/office/drawing/2014/main" id="{264378C4-1793-40DC-9F53-215EC06A83FB}"/>
                </a:ext>
              </a:extLst>
            </p:cNvPr>
            <p:cNvSpPr txBox="1"/>
            <p:nvPr/>
          </p:nvSpPr>
          <p:spPr>
            <a:xfrm>
              <a:off x="398611" y="4083756"/>
              <a:ext cx="642084" cy="128185"/>
            </a:xfrm>
            <a:prstGeom prst="rect">
              <a:avLst/>
            </a:prstGeom>
            <a:solidFill>
              <a:schemeClr val="bg1"/>
            </a:solidFill>
          </p:spPr>
          <p:txBody>
            <a:bodyPr wrap="square" lIns="0" tIns="0" rIns="0" bIns="0" rtlCol="0">
              <a:noAutofit/>
            </a:bodyPr>
            <a:lstStyle/>
            <a:p>
              <a:pPr defTabSz="456758" fontAlgn="base">
                <a:spcBef>
                  <a:spcPts val="1200"/>
                </a:spcBef>
              </a:pPr>
              <a:r>
                <a:rPr lang="en-US" sz="1200" dirty="0">
                  <a:solidFill>
                    <a:srgbClr val="064E69"/>
                  </a:solidFill>
                  <a:cs typeface="Open Sans Light"/>
                </a:rPr>
                <a:t>Nurses</a:t>
              </a:r>
            </a:p>
          </p:txBody>
        </p:sp>
      </p:grpSp>
      <p:grpSp>
        <p:nvGrpSpPr>
          <p:cNvPr id="181" name="Group 180">
            <a:extLst>
              <a:ext uri="{FF2B5EF4-FFF2-40B4-BE49-F238E27FC236}">
                <a16:creationId xmlns:a16="http://schemas.microsoft.com/office/drawing/2014/main" id="{C62E699F-18DB-4321-A24D-EDF7F03DA672}"/>
              </a:ext>
            </a:extLst>
          </p:cNvPr>
          <p:cNvGrpSpPr/>
          <p:nvPr/>
        </p:nvGrpSpPr>
        <p:grpSpPr>
          <a:xfrm>
            <a:off x="2690570" y="3699600"/>
            <a:ext cx="642084" cy="463708"/>
            <a:chOff x="398611" y="3748233"/>
            <a:chExt cx="642084" cy="463708"/>
          </a:xfrm>
        </p:grpSpPr>
        <p:sp>
          <p:nvSpPr>
            <p:cNvPr id="182" name="Freeform 24">
              <a:extLst>
                <a:ext uri="{FF2B5EF4-FFF2-40B4-BE49-F238E27FC236}">
                  <a16:creationId xmlns:a16="http://schemas.microsoft.com/office/drawing/2014/main" id="{E3566CAB-8319-4DFD-82CD-CF4A6B6C7C66}"/>
                </a:ext>
              </a:extLst>
            </p:cNvPr>
            <p:cNvSpPr>
              <a:spLocks noEditPoints="1"/>
            </p:cNvSpPr>
            <p:nvPr/>
          </p:nvSpPr>
          <p:spPr bwMode="auto">
            <a:xfrm>
              <a:off x="468348" y="3748233"/>
              <a:ext cx="448797" cy="294576"/>
            </a:xfrm>
            <a:custGeom>
              <a:avLst/>
              <a:gdLst/>
              <a:ahLst/>
              <a:cxnLst>
                <a:cxn ang="0">
                  <a:pos x="231" y="141"/>
                </a:cxn>
                <a:cxn ang="0">
                  <a:pos x="206" y="82"/>
                </a:cxn>
                <a:cxn ang="0">
                  <a:pos x="217" y="156"/>
                </a:cxn>
                <a:cxn ang="0">
                  <a:pos x="210" y="168"/>
                </a:cxn>
                <a:cxn ang="0">
                  <a:pos x="208" y="165"/>
                </a:cxn>
                <a:cxn ang="0">
                  <a:pos x="157" y="137"/>
                </a:cxn>
                <a:cxn ang="0">
                  <a:pos x="141" y="71"/>
                </a:cxn>
                <a:cxn ang="0">
                  <a:pos x="144" y="62"/>
                </a:cxn>
                <a:cxn ang="0">
                  <a:pos x="201" y="48"/>
                </a:cxn>
                <a:cxn ang="0">
                  <a:pos x="219" y="62"/>
                </a:cxn>
                <a:cxn ang="0">
                  <a:pos x="234" y="141"/>
                </a:cxn>
                <a:cxn ang="0">
                  <a:pos x="170" y="198"/>
                </a:cxn>
                <a:cxn ang="0">
                  <a:pos x="164" y="242"/>
                </a:cxn>
                <a:cxn ang="0">
                  <a:pos x="81" y="242"/>
                </a:cxn>
                <a:cxn ang="0">
                  <a:pos x="75" y="198"/>
                </a:cxn>
                <a:cxn ang="0">
                  <a:pos x="40" y="219"/>
                </a:cxn>
                <a:cxn ang="0">
                  <a:pos x="48" y="169"/>
                </a:cxn>
                <a:cxn ang="0">
                  <a:pos x="104" y="149"/>
                </a:cxn>
                <a:cxn ang="0">
                  <a:pos x="141" y="149"/>
                </a:cxn>
                <a:cxn ang="0">
                  <a:pos x="196" y="169"/>
                </a:cxn>
                <a:cxn ang="0">
                  <a:pos x="204" y="219"/>
                </a:cxn>
                <a:cxn ang="0">
                  <a:pos x="35" y="169"/>
                </a:cxn>
                <a:cxn ang="0">
                  <a:pos x="36" y="80"/>
                </a:cxn>
                <a:cxn ang="0">
                  <a:pos x="21" y="131"/>
                </a:cxn>
                <a:cxn ang="0">
                  <a:pos x="9" y="140"/>
                </a:cxn>
                <a:cxn ang="0">
                  <a:pos x="12" y="61"/>
                </a:cxn>
                <a:cxn ang="0">
                  <a:pos x="31" y="47"/>
                </a:cxn>
                <a:cxn ang="0">
                  <a:pos x="62" y="69"/>
                </a:cxn>
                <a:cxn ang="0">
                  <a:pos x="94" y="47"/>
                </a:cxn>
                <a:cxn ang="0">
                  <a:pos x="113" y="61"/>
                </a:cxn>
                <a:cxn ang="0">
                  <a:pos x="91" y="80"/>
                </a:cxn>
                <a:cxn ang="0">
                  <a:pos x="90" y="81"/>
                </a:cxn>
                <a:cxn ang="0">
                  <a:pos x="87" y="137"/>
                </a:cxn>
                <a:cxn ang="0">
                  <a:pos x="36" y="165"/>
                </a:cxn>
                <a:cxn ang="0">
                  <a:pos x="62" y="0"/>
                </a:cxn>
                <a:cxn ang="0">
                  <a:pos x="62" y="40"/>
                </a:cxn>
                <a:cxn ang="0">
                  <a:pos x="62" y="0"/>
                </a:cxn>
                <a:cxn ang="0">
                  <a:pos x="154" y="110"/>
                </a:cxn>
                <a:cxn ang="0">
                  <a:pos x="91" y="110"/>
                </a:cxn>
                <a:cxn ang="0">
                  <a:pos x="182" y="0"/>
                </a:cxn>
                <a:cxn ang="0">
                  <a:pos x="182" y="40"/>
                </a:cxn>
                <a:cxn ang="0">
                  <a:pos x="182" y="0"/>
                </a:cxn>
              </a:cxnLst>
              <a:rect l="0" t="0" r="r" b="b"/>
              <a:pathLst>
                <a:path w="241" h="248">
                  <a:moveTo>
                    <a:pt x="234" y="141"/>
                  </a:moveTo>
                  <a:cubicBezTo>
                    <a:pt x="233" y="141"/>
                    <a:pt x="232" y="141"/>
                    <a:pt x="231" y="141"/>
                  </a:cubicBezTo>
                  <a:cubicBezTo>
                    <a:pt x="227" y="141"/>
                    <a:pt x="223" y="139"/>
                    <a:pt x="222" y="134"/>
                  </a:cubicBezTo>
                  <a:cubicBezTo>
                    <a:pt x="206" y="82"/>
                    <a:pt x="206" y="82"/>
                    <a:pt x="206" y="82"/>
                  </a:cubicBezTo>
                  <a:cubicBezTo>
                    <a:pt x="198" y="82"/>
                    <a:pt x="198" y="82"/>
                    <a:pt x="198" y="82"/>
                  </a:cubicBezTo>
                  <a:cubicBezTo>
                    <a:pt x="217" y="156"/>
                    <a:pt x="217" y="156"/>
                    <a:pt x="217" y="156"/>
                  </a:cubicBezTo>
                  <a:cubicBezTo>
                    <a:pt x="218" y="157"/>
                    <a:pt x="218" y="158"/>
                    <a:pt x="218" y="160"/>
                  </a:cubicBezTo>
                  <a:cubicBezTo>
                    <a:pt x="218" y="164"/>
                    <a:pt x="214" y="168"/>
                    <a:pt x="210" y="168"/>
                  </a:cubicBezTo>
                  <a:cubicBezTo>
                    <a:pt x="209" y="168"/>
                    <a:pt x="209" y="168"/>
                    <a:pt x="209" y="168"/>
                  </a:cubicBezTo>
                  <a:cubicBezTo>
                    <a:pt x="208" y="167"/>
                    <a:pt x="208" y="166"/>
                    <a:pt x="208" y="165"/>
                  </a:cubicBezTo>
                  <a:cubicBezTo>
                    <a:pt x="203" y="148"/>
                    <a:pt x="186" y="137"/>
                    <a:pt x="168" y="137"/>
                  </a:cubicBezTo>
                  <a:cubicBezTo>
                    <a:pt x="157" y="137"/>
                    <a:pt x="157" y="137"/>
                    <a:pt x="157" y="137"/>
                  </a:cubicBezTo>
                  <a:cubicBezTo>
                    <a:pt x="163" y="129"/>
                    <a:pt x="166" y="120"/>
                    <a:pt x="166" y="110"/>
                  </a:cubicBezTo>
                  <a:cubicBezTo>
                    <a:pt x="166" y="93"/>
                    <a:pt x="156" y="78"/>
                    <a:pt x="141" y="71"/>
                  </a:cubicBezTo>
                  <a:cubicBezTo>
                    <a:pt x="144" y="62"/>
                    <a:pt x="144" y="62"/>
                    <a:pt x="144" y="62"/>
                  </a:cubicBezTo>
                  <a:cubicBezTo>
                    <a:pt x="144" y="62"/>
                    <a:pt x="144" y="62"/>
                    <a:pt x="144" y="62"/>
                  </a:cubicBezTo>
                  <a:cubicBezTo>
                    <a:pt x="147" y="53"/>
                    <a:pt x="154" y="48"/>
                    <a:pt x="162" y="48"/>
                  </a:cubicBezTo>
                  <a:cubicBezTo>
                    <a:pt x="201" y="48"/>
                    <a:pt x="201" y="48"/>
                    <a:pt x="201" y="48"/>
                  </a:cubicBezTo>
                  <a:cubicBezTo>
                    <a:pt x="209" y="48"/>
                    <a:pt x="216" y="53"/>
                    <a:pt x="219" y="62"/>
                  </a:cubicBezTo>
                  <a:cubicBezTo>
                    <a:pt x="219" y="62"/>
                    <a:pt x="219" y="62"/>
                    <a:pt x="219" y="62"/>
                  </a:cubicBezTo>
                  <a:cubicBezTo>
                    <a:pt x="240" y="129"/>
                    <a:pt x="240" y="129"/>
                    <a:pt x="240" y="129"/>
                  </a:cubicBezTo>
                  <a:cubicBezTo>
                    <a:pt x="241" y="134"/>
                    <a:pt x="238" y="139"/>
                    <a:pt x="234" y="141"/>
                  </a:cubicBezTo>
                  <a:close/>
                  <a:moveTo>
                    <a:pt x="176" y="237"/>
                  </a:moveTo>
                  <a:cubicBezTo>
                    <a:pt x="170" y="198"/>
                    <a:pt x="170" y="198"/>
                    <a:pt x="170" y="198"/>
                  </a:cubicBezTo>
                  <a:cubicBezTo>
                    <a:pt x="162" y="198"/>
                    <a:pt x="162" y="198"/>
                    <a:pt x="162" y="198"/>
                  </a:cubicBezTo>
                  <a:cubicBezTo>
                    <a:pt x="164" y="242"/>
                    <a:pt x="164" y="242"/>
                    <a:pt x="164" y="242"/>
                  </a:cubicBezTo>
                  <a:cubicBezTo>
                    <a:pt x="151" y="246"/>
                    <a:pt x="137" y="248"/>
                    <a:pt x="122" y="248"/>
                  </a:cubicBezTo>
                  <a:cubicBezTo>
                    <a:pt x="108" y="248"/>
                    <a:pt x="94" y="246"/>
                    <a:pt x="81" y="242"/>
                  </a:cubicBezTo>
                  <a:cubicBezTo>
                    <a:pt x="83" y="198"/>
                    <a:pt x="83" y="198"/>
                    <a:pt x="83" y="198"/>
                  </a:cubicBezTo>
                  <a:cubicBezTo>
                    <a:pt x="75" y="198"/>
                    <a:pt x="75" y="198"/>
                    <a:pt x="75" y="198"/>
                  </a:cubicBezTo>
                  <a:cubicBezTo>
                    <a:pt x="67" y="237"/>
                    <a:pt x="67" y="237"/>
                    <a:pt x="67" y="237"/>
                  </a:cubicBezTo>
                  <a:cubicBezTo>
                    <a:pt x="57" y="232"/>
                    <a:pt x="48" y="226"/>
                    <a:pt x="40" y="219"/>
                  </a:cubicBezTo>
                  <a:cubicBezTo>
                    <a:pt x="48" y="171"/>
                    <a:pt x="48" y="171"/>
                    <a:pt x="48" y="171"/>
                  </a:cubicBezTo>
                  <a:cubicBezTo>
                    <a:pt x="48" y="170"/>
                    <a:pt x="48" y="169"/>
                    <a:pt x="48" y="169"/>
                  </a:cubicBezTo>
                  <a:cubicBezTo>
                    <a:pt x="52" y="157"/>
                    <a:pt x="63" y="149"/>
                    <a:pt x="77" y="149"/>
                  </a:cubicBezTo>
                  <a:cubicBezTo>
                    <a:pt x="104" y="149"/>
                    <a:pt x="104" y="149"/>
                    <a:pt x="104" y="149"/>
                  </a:cubicBezTo>
                  <a:cubicBezTo>
                    <a:pt x="123" y="182"/>
                    <a:pt x="123" y="182"/>
                    <a:pt x="123" y="182"/>
                  </a:cubicBezTo>
                  <a:cubicBezTo>
                    <a:pt x="141" y="149"/>
                    <a:pt x="141" y="149"/>
                    <a:pt x="141" y="149"/>
                  </a:cubicBezTo>
                  <a:cubicBezTo>
                    <a:pt x="168" y="149"/>
                    <a:pt x="168" y="149"/>
                    <a:pt x="168" y="149"/>
                  </a:cubicBezTo>
                  <a:cubicBezTo>
                    <a:pt x="181" y="149"/>
                    <a:pt x="192" y="157"/>
                    <a:pt x="196" y="169"/>
                  </a:cubicBezTo>
                  <a:cubicBezTo>
                    <a:pt x="196" y="169"/>
                    <a:pt x="196" y="170"/>
                    <a:pt x="196" y="171"/>
                  </a:cubicBezTo>
                  <a:cubicBezTo>
                    <a:pt x="204" y="219"/>
                    <a:pt x="204" y="219"/>
                    <a:pt x="204" y="219"/>
                  </a:cubicBezTo>
                  <a:cubicBezTo>
                    <a:pt x="196" y="226"/>
                    <a:pt x="186" y="232"/>
                    <a:pt x="176" y="237"/>
                  </a:cubicBezTo>
                  <a:close/>
                  <a:moveTo>
                    <a:pt x="35" y="169"/>
                  </a:moveTo>
                  <a:cubicBezTo>
                    <a:pt x="34" y="174"/>
                    <a:pt x="34" y="174"/>
                    <a:pt x="34" y="174"/>
                  </a:cubicBezTo>
                  <a:cubicBezTo>
                    <a:pt x="36" y="80"/>
                    <a:pt x="36" y="80"/>
                    <a:pt x="36" y="80"/>
                  </a:cubicBezTo>
                  <a:cubicBezTo>
                    <a:pt x="30" y="80"/>
                    <a:pt x="30" y="80"/>
                    <a:pt x="30" y="80"/>
                  </a:cubicBezTo>
                  <a:cubicBezTo>
                    <a:pt x="21" y="131"/>
                    <a:pt x="21" y="131"/>
                    <a:pt x="21" y="131"/>
                  </a:cubicBezTo>
                  <a:cubicBezTo>
                    <a:pt x="20" y="136"/>
                    <a:pt x="16" y="140"/>
                    <a:pt x="11" y="140"/>
                  </a:cubicBezTo>
                  <a:cubicBezTo>
                    <a:pt x="11" y="140"/>
                    <a:pt x="10" y="140"/>
                    <a:pt x="9" y="140"/>
                  </a:cubicBezTo>
                  <a:cubicBezTo>
                    <a:pt x="4" y="139"/>
                    <a:pt x="0" y="133"/>
                    <a:pt x="1" y="128"/>
                  </a:cubicBezTo>
                  <a:cubicBezTo>
                    <a:pt x="12" y="61"/>
                    <a:pt x="12" y="61"/>
                    <a:pt x="12" y="61"/>
                  </a:cubicBezTo>
                  <a:cubicBezTo>
                    <a:pt x="12" y="60"/>
                    <a:pt x="12" y="60"/>
                    <a:pt x="12" y="60"/>
                  </a:cubicBezTo>
                  <a:cubicBezTo>
                    <a:pt x="15" y="52"/>
                    <a:pt x="23" y="47"/>
                    <a:pt x="31" y="47"/>
                  </a:cubicBezTo>
                  <a:cubicBezTo>
                    <a:pt x="49" y="47"/>
                    <a:pt x="49" y="47"/>
                    <a:pt x="49" y="47"/>
                  </a:cubicBezTo>
                  <a:cubicBezTo>
                    <a:pt x="62" y="69"/>
                    <a:pt x="62" y="69"/>
                    <a:pt x="62" y="69"/>
                  </a:cubicBezTo>
                  <a:cubicBezTo>
                    <a:pt x="76" y="47"/>
                    <a:pt x="76" y="47"/>
                    <a:pt x="76" y="47"/>
                  </a:cubicBezTo>
                  <a:cubicBezTo>
                    <a:pt x="94" y="47"/>
                    <a:pt x="94" y="47"/>
                    <a:pt x="94" y="47"/>
                  </a:cubicBezTo>
                  <a:cubicBezTo>
                    <a:pt x="103" y="47"/>
                    <a:pt x="110" y="52"/>
                    <a:pt x="113" y="60"/>
                  </a:cubicBezTo>
                  <a:cubicBezTo>
                    <a:pt x="113" y="61"/>
                    <a:pt x="113" y="61"/>
                    <a:pt x="113" y="61"/>
                  </a:cubicBezTo>
                  <a:cubicBezTo>
                    <a:pt x="114" y="67"/>
                    <a:pt x="114" y="67"/>
                    <a:pt x="114" y="67"/>
                  </a:cubicBezTo>
                  <a:cubicBezTo>
                    <a:pt x="105" y="69"/>
                    <a:pt x="97" y="73"/>
                    <a:pt x="91" y="80"/>
                  </a:cubicBezTo>
                  <a:cubicBezTo>
                    <a:pt x="90" y="80"/>
                    <a:pt x="90" y="80"/>
                    <a:pt x="90" y="80"/>
                  </a:cubicBezTo>
                  <a:cubicBezTo>
                    <a:pt x="90" y="81"/>
                    <a:pt x="90" y="81"/>
                    <a:pt x="90" y="81"/>
                  </a:cubicBezTo>
                  <a:cubicBezTo>
                    <a:pt x="83" y="88"/>
                    <a:pt x="79" y="99"/>
                    <a:pt x="79" y="110"/>
                  </a:cubicBezTo>
                  <a:cubicBezTo>
                    <a:pt x="79" y="120"/>
                    <a:pt x="82" y="129"/>
                    <a:pt x="87" y="137"/>
                  </a:cubicBezTo>
                  <a:cubicBezTo>
                    <a:pt x="77" y="137"/>
                    <a:pt x="77" y="137"/>
                    <a:pt x="77" y="137"/>
                  </a:cubicBezTo>
                  <a:cubicBezTo>
                    <a:pt x="58" y="137"/>
                    <a:pt x="41" y="148"/>
                    <a:pt x="36" y="165"/>
                  </a:cubicBezTo>
                  <a:cubicBezTo>
                    <a:pt x="36" y="166"/>
                    <a:pt x="35" y="167"/>
                    <a:pt x="35" y="169"/>
                  </a:cubicBezTo>
                  <a:close/>
                  <a:moveTo>
                    <a:pt x="62" y="0"/>
                  </a:moveTo>
                  <a:cubicBezTo>
                    <a:pt x="74" y="0"/>
                    <a:pt x="83" y="9"/>
                    <a:pt x="83" y="20"/>
                  </a:cubicBezTo>
                  <a:cubicBezTo>
                    <a:pt x="83" y="31"/>
                    <a:pt x="74" y="40"/>
                    <a:pt x="62" y="40"/>
                  </a:cubicBezTo>
                  <a:cubicBezTo>
                    <a:pt x="51" y="40"/>
                    <a:pt x="42" y="31"/>
                    <a:pt x="42" y="20"/>
                  </a:cubicBezTo>
                  <a:cubicBezTo>
                    <a:pt x="42" y="9"/>
                    <a:pt x="51" y="0"/>
                    <a:pt x="62" y="0"/>
                  </a:cubicBezTo>
                  <a:close/>
                  <a:moveTo>
                    <a:pt x="122" y="79"/>
                  </a:moveTo>
                  <a:cubicBezTo>
                    <a:pt x="140" y="79"/>
                    <a:pt x="154" y="93"/>
                    <a:pt x="154" y="110"/>
                  </a:cubicBezTo>
                  <a:cubicBezTo>
                    <a:pt x="154" y="127"/>
                    <a:pt x="140" y="141"/>
                    <a:pt x="122" y="141"/>
                  </a:cubicBezTo>
                  <a:cubicBezTo>
                    <a:pt x="105" y="141"/>
                    <a:pt x="91" y="127"/>
                    <a:pt x="91" y="110"/>
                  </a:cubicBezTo>
                  <a:cubicBezTo>
                    <a:pt x="91" y="93"/>
                    <a:pt x="105" y="79"/>
                    <a:pt x="122" y="79"/>
                  </a:cubicBezTo>
                  <a:close/>
                  <a:moveTo>
                    <a:pt x="182" y="0"/>
                  </a:moveTo>
                  <a:cubicBezTo>
                    <a:pt x="193" y="0"/>
                    <a:pt x="201" y="9"/>
                    <a:pt x="201" y="20"/>
                  </a:cubicBezTo>
                  <a:cubicBezTo>
                    <a:pt x="201" y="31"/>
                    <a:pt x="193" y="40"/>
                    <a:pt x="182" y="40"/>
                  </a:cubicBezTo>
                  <a:cubicBezTo>
                    <a:pt x="171" y="40"/>
                    <a:pt x="162" y="31"/>
                    <a:pt x="162" y="20"/>
                  </a:cubicBezTo>
                  <a:cubicBezTo>
                    <a:pt x="162" y="9"/>
                    <a:pt x="171" y="0"/>
                    <a:pt x="182" y="0"/>
                  </a:cubicBezTo>
                  <a:close/>
                </a:path>
              </a:pathLst>
            </a:custGeom>
            <a:solidFill>
              <a:schemeClr val="accent2"/>
            </a:solidFill>
            <a:ln w="9525">
              <a:noFill/>
              <a:round/>
              <a:headEnd/>
              <a:tailEnd/>
            </a:ln>
          </p:spPr>
          <p:txBody>
            <a:bodyPr vert="horz" wrap="square" lIns="100817" tIns="50408" rIns="100817" bIns="50408" numCol="1" anchor="t" anchorCtr="0" compatLnSpc="1">
              <a:prstTxWarp prst="textNoShape">
                <a:avLst/>
              </a:prstTxWarp>
            </a:bodyPr>
            <a:lstStyle/>
            <a:p>
              <a:endParaRPr lang="en-US" sz="2205" dirty="0">
                <a:latin typeface="Arial" panose="020B0604020202020204" pitchFamily="34" charset="0"/>
                <a:cs typeface="Arial" panose="020B0604020202020204" pitchFamily="34" charset="0"/>
                <a:sym typeface="Arial" panose="020B0604020202020204" pitchFamily="34" charset="0"/>
              </a:endParaRPr>
            </a:p>
          </p:txBody>
        </p:sp>
        <p:sp>
          <p:nvSpPr>
            <p:cNvPr id="183" name="TextBox 182">
              <a:extLst>
                <a:ext uri="{FF2B5EF4-FFF2-40B4-BE49-F238E27FC236}">
                  <a16:creationId xmlns:a16="http://schemas.microsoft.com/office/drawing/2014/main" id="{87CA5634-4F52-4912-8157-E407E575C9ED}"/>
                </a:ext>
              </a:extLst>
            </p:cNvPr>
            <p:cNvSpPr txBox="1"/>
            <p:nvPr/>
          </p:nvSpPr>
          <p:spPr>
            <a:xfrm>
              <a:off x="398611" y="4083756"/>
              <a:ext cx="642084" cy="128185"/>
            </a:xfrm>
            <a:prstGeom prst="rect">
              <a:avLst/>
            </a:prstGeom>
            <a:solidFill>
              <a:schemeClr val="bg1"/>
            </a:solidFill>
          </p:spPr>
          <p:txBody>
            <a:bodyPr wrap="square" lIns="0" tIns="0" rIns="0" bIns="0" rtlCol="0">
              <a:noAutofit/>
            </a:bodyPr>
            <a:lstStyle/>
            <a:p>
              <a:pPr defTabSz="456758" fontAlgn="base">
                <a:spcBef>
                  <a:spcPts val="1200"/>
                </a:spcBef>
              </a:pPr>
              <a:r>
                <a:rPr lang="en-US" sz="1200" dirty="0">
                  <a:solidFill>
                    <a:srgbClr val="064E69"/>
                  </a:solidFill>
                  <a:cs typeface="Open Sans Light"/>
                </a:rPr>
                <a:t>Nurses</a:t>
              </a:r>
            </a:p>
          </p:txBody>
        </p:sp>
      </p:grpSp>
      <p:grpSp>
        <p:nvGrpSpPr>
          <p:cNvPr id="184" name="Group 183">
            <a:extLst>
              <a:ext uri="{FF2B5EF4-FFF2-40B4-BE49-F238E27FC236}">
                <a16:creationId xmlns:a16="http://schemas.microsoft.com/office/drawing/2014/main" id="{D29E6E04-2A03-4E53-8769-589D71C36120}"/>
              </a:ext>
            </a:extLst>
          </p:cNvPr>
          <p:cNvGrpSpPr/>
          <p:nvPr/>
        </p:nvGrpSpPr>
        <p:grpSpPr>
          <a:xfrm>
            <a:off x="4129768" y="3671306"/>
            <a:ext cx="642084" cy="463708"/>
            <a:chOff x="398611" y="3748233"/>
            <a:chExt cx="642084" cy="463708"/>
          </a:xfrm>
        </p:grpSpPr>
        <p:sp>
          <p:nvSpPr>
            <p:cNvPr id="185" name="Freeform 24">
              <a:extLst>
                <a:ext uri="{FF2B5EF4-FFF2-40B4-BE49-F238E27FC236}">
                  <a16:creationId xmlns:a16="http://schemas.microsoft.com/office/drawing/2014/main" id="{E8E92C85-7971-46C0-81F5-902B23CD4B61}"/>
                </a:ext>
              </a:extLst>
            </p:cNvPr>
            <p:cNvSpPr>
              <a:spLocks noEditPoints="1"/>
            </p:cNvSpPr>
            <p:nvPr/>
          </p:nvSpPr>
          <p:spPr bwMode="auto">
            <a:xfrm>
              <a:off x="468348" y="3748233"/>
              <a:ext cx="448797" cy="294576"/>
            </a:xfrm>
            <a:custGeom>
              <a:avLst/>
              <a:gdLst/>
              <a:ahLst/>
              <a:cxnLst>
                <a:cxn ang="0">
                  <a:pos x="231" y="141"/>
                </a:cxn>
                <a:cxn ang="0">
                  <a:pos x="206" y="82"/>
                </a:cxn>
                <a:cxn ang="0">
                  <a:pos x="217" y="156"/>
                </a:cxn>
                <a:cxn ang="0">
                  <a:pos x="210" y="168"/>
                </a:cxn>
                <a:cxn ang="0">
                  <a:pos x="208" y="165"/>
                </a:cxn>
                <a:cxn ang="0">
                  <a:pos x="157" y="137"/>
                </a:cxn>
                <a:cxn ang="0">
                  <a:pos x="141" y="71"/>
                </a:cxn>
                <a:cxn ang="0">
                  <a:pos x="144" y="62"/>
                </a:cxn>
                <a:cxn ang="0">
                  <a:pos x="201" y="48"/>
                </a:cxn>
                <a:cxn ang="0">
                  <a:pos x="219" y="62"/>
                </a:cxn>
                <a:cxn ang="0">
                  <a:pos x="234" y="141"/>
                </a:cxn>
                <a:cxn ang="0">
                  <a:pos x="170" y="198"/>
                </a:cxn>
                <a:cxn ang="0">
                  <a:pos x="164" y="242"/>
                </a:cxn>
                <a:cxn ang="0">
                  <a:pos x="81" y="242"/>
                </a:cxn>
                <a:cxn ang="0">
                  <a:pos x="75" y="198"/>
                </a:cxn>
                <a:cxn ang="0">
                  <a:pos x="40" y="219"/>
                </a:cxn>
                <a:cxn ang="0">
                  <a:pos x="48" y="169"/>
                </a:cxn>
                <a:cxn ang="0">
                  <a:pos x="104" y="149"/>
                </a:cxn>
                <a:cxn ang="0">
                  <a:pos x="141" y="149"/>
                </a:cxn>
                <a:cxn ang="0">
                  <a:pos x="196" y="169"/>
                </a:cxn>
                <a:cxn ang="0">
                  <a:pos x="204" y="219"/>
                </a:cxn>
                <a:cxn ang="0">
                  <a:pos x="35" y="169"/>
                </a:cxn>
                <a:cxn ang="0">
                  <a:pos x="36" y="80"/>
                </a:cxn>
                <a:cxn ang="0">
                  <a:pos x="21" y="131"/>
                </a:cxn>
                <a:cxn ang="0">
                  <a:pos x="9" y="140"/>
                </a:cxn>
                <a:cxn ang="0">
                  <a:pos x="12" y="61"/>
                </a:cxn>
                <a:cxn ang="0">
                  <a:pos x="31" y="47"/>
                </a:cxn>
                <a:cxn ang="0">
                  <a:pos x="62" y="69"/>
                </a:cxn>
                <a:cxn ang="0">
                  <a:pos x="94" y="47"/>
                </a:cxn>
                <a:cxn ang="0">
                  <a:pos x="113" y="61"/>
                </a:cxn>
                <a:cxn ang="0">
                  <a:pos x="91" y="80"/>
                </a:cxn>
                <a:cxn ang="0">
                  <a:pos x="90" y="81"/>
                </a:cxn>
                <a:cxn ang="0">
                  <a:pos x="87" y="137"/>
                </a:cxn>
                <a:cxn ang="0">
                  <a:pos x="36" y="165"/>
                </a:cxn>
                <a:cxn ang="0">
                  <a:pos x="62" y="0"/>
                </a:cxn>
                <a:cxn ang="0">
                  <a:pos x="62" y="40"/>
                </a:cxn>
                <a:cxn ang="0">
                  <a:pos x="62" y="0"/>
                </a:cxn>
                <a:cxn ang="0">
                  <a:pos x="154" y="110"/>
                </a:cxn>
                <a:cxn ang="0">
                  <a:pos x="91" y="110"/>
                </a:cxn>
                <a:cxn ang="0">
                  <a:pos x="182" y="0"/>
                </a:cxn>
                <a:cxn ang="0">
                  <a:pos x="182" y="40"/>
                </a:cxn>
                <a:cxn ang="0">
                  <a:pos x="182" y="0"/>
                </a:cxn>
              </a:cxnLst>
              <a:rect l="0" t="0" r="r" b="b"/>
              <a:pathLst>
                <a:path w="241" h="248">
                  <a:moveTo>
                    <a:pt x="234" y="141"/>
                  </a:moveTo>
                  <a:cubicBezTo>
                    <a:pt x="233" y="141"/>
                    <a:pt x="232" y="141"/>
                    <a:pt x="231" y="141"/>
                  </a:cubicBezTo>
                  <a:cubicBezTo>
                    <a:pt x="227" y="141"/>
                    <a:pt x="223" y="139"/>
                    <a:pt x="222" y="134"/>
                  </a:cubicBezTo>
                  <a:cubicBezTo>
                    <a:pt x="206" y="82"/>
                    <a:pt x="206" y="82"/>
                    <a:pt x="206" y="82"/>
                  </a:cubicBezTo>
                  <a:cubicBezTo>
                    <a:pt x="198" y="82"/>
                    <a:pt x="198" y="82"/>
                    <a:pt x="198" y="82"/>
                  </a:cubicBezTo>
                  <a:cubicBezTo>
                    <a:pt x="217" y="156"/>
                    <a:pt x="217" y="156"/>
                    <a:pt x="217" y="156"/>
                  </a:cubicBezTo>
                  <a:cubicBezTo>
                    <a:pt x="218" y="157"/>
                    <a:pt x="218" y="158"/>
                    <a:pt x="218" y="160"/>
                  </a:cubicBezTo>
                  <a:cubicBezTo>
                    <a:pt x="218" y="164"/>
                    <a:pt x="214" y="168"/>
                    <a:pt x="210" y="168"/>
                  </a:cubicBezTo>
                  <a:cubicBezTo>
                    <a:pt x="209" y="168"/>
                    <a:pt x="209" y="168"/>
                    <a:pt x="209" y="168"/>
                  </a:cubicBezTo>
                  <a:cubicBezTo>
                    <a:pt x="208" y="167"/>
                    <a:pt x="208" y="166"/>
                    <a:pt x="208" y="165"/>
                  </a:cubicBezTo>
                  <a:cubicBezTo>
                    <a:pt x="203" y="148"/>
                    <a:pt x="186" y="137"/>
                    <a:pt x="168" y="137"/>
                  </a:cubicBezTo>
                  <a:cubicBezTo>
                    <a:pt x="157" y="137"/>
                    <a:pt x="157" y="137"/>
                    <a:pt x="157" y="137"/>
                  </a:cubicBezTo>
                  <a:cubicBezTo>
                    <a:pt x="163" y="129"/>
                    <a:pt x="166" y="120"/>
                    <a:pt x="166" y="110"/>
                  </a:cubicBezTo>
                  <a:cubicBezTo>
                    <a:pt x="166" y="93"/>
                    <a:pt x="156" y="78"/>
                    <a:pt x="141" y="71"/>
                  </a:cubicBezTo>
                  <a:cubicBezTo>
                    <a:pt x="144" y="62"/>
                    <a:pt x="144" y="62"/>
                    <a:pt x="144" y="62"/>
                  </a:cubicBezTo>
                  <a:cubicBezTo>
                    <a:pt x="144" y="62"/>
                    <a:pt x="144" y="62"/>
                    <a:pt x="144" y="62"/>
                  </a:cubicBezTo>
                  <a:cubicBezTo>
                    <a:pt x="147" y="53"/>
                    <a:pt x="154" y="48"/>
                    <a:pt x="162" y="48"/>
                  </a:cubicBezTo>
                  <a:cubicBezTo>
                    <a:pt x="201" y="48"/>
                    <a:pt x="201" y="48"/>
                    <a:pt x="201" y="48"/>
                  </a:cubicBezTo>
                  <a:cubicBezTo>
                    <a:pt x="209" y="48"/>
                    <a:pt x="216" y="53"/>
                    <a:pt x="219" y="62"/>
                  </a:cubicBezTo>
                  <a:cubicBezTo>
                    <a:pt x="219" y="62"/>
                    <a:pt x="219" y="62"/>
                    <a:pt x="219" y="62"/>
                  </a:cubicBezTo>
                  <a:cubicBezTo>
                    <a:pt x="240" y="129"/>
                    <a:pt x="240" y="129"/>
                    <a:pt x="240" y="129"/>
                  </a:cubicBezTo>
                  <a:cubicBezTo>
                    <a:pt x="241" y="134"/>
                    <a:pt x="238" y="139"/>
                    <a:pt x="234" y="141"/>
                  </a:cubicBezTo>
                  <a:close/>
                  <a:moveTo>
                    <a:pt x="176" y="237"/>
                  </a:moveTo>
                  <a:cubicBezTo>
                    <a:pt x="170" y="198"/>
                    <a:pt x="170" y="198"/>
                    <a:pt x="170" y="198"/>
                  </a:cubicBezTo>
                  <a:cubicBezTo>
                    <a:pt x="162" y="198"/>
                    <a:pt x="162" y="198"/>
                    <a:pt x="162" y="198"/>
                  </a:cubicBezTo>
                  <a:cubicBezTo>
                    <a:pt x="164" y="242"/>
                    <a:pt x="164" y="242"/>
                    <a:pt x="164" y="242"/>
                  </a:cubicBezTo>
                  <a:cubicBezTo>
                    <a:pt x="151" y="246"/>
                    <a:pt x="137" y="248"/>
                    <a:pt x="122" y="248"/>
                  </a:cubicBezTo>
                  <a:cubicBezTo>
                    <a:pt x="108" y="248"/>
                    <a:pt x="94" y="246"/>
                    <a:pt x="81" y="242"/>
                  </a:cubicBezTo>
                  <a:cubicBezTo>
                    <a:pt x="83" y="198"/>
                    <a:pt x="83" y="198"/>
                    <a:pt x="83" y="198"/>
                  </a:cubicBezTo>
                  <a:cubicBezTo>
                    <a:pt x="75" y="198"/>
                    <a:pt x="75" y="198"/>
                    <a:pt x="75" y="198"/>
                  </a:cubicBezTo>
                  <a:cubicBezTo>
                    <a:pt x="67" y="237"/>
                    <a:pt x="67" y="237"/>
                    <a:pt x="67" y="237"/>
                  </a:cubicBezTo>
                  <a:cubicBezTo>
                    <a:pt x="57" y="232"/>
                    <a:pt x="48" y="226"/>
                    <a:pt x="40" y="219"/>
                  </a:cubicBezTo>
                  <a:cubicBezTo>
                    <a:pt x="48" y="171"/>
                    <a:pt x="48" y="171"/>
                    <a:pt x="48" y="171"/>
                  </a:cubicBezTo>
                  <a:cubicBezTo>
                    <a:pt x="48" y="170"/>
                    <a:pt x="48" y="169"/>
                    <a:pt x="48" y="169"/>
                  </a:cubicBezTo>
                  <a:cubicBezTo>
                    <a:pt x="52" y="157"/>
                    <a:pt x="63" y="149"/>
                    <a:pt x="77" y="149"/>
                  </a:cubicBezTo>
                  <a:cubicBezTo>
                    <a:pt x="104" y="149"/>
                    <a:pt x="104" y="149"/>
                    <a:pt x="104" y="149"/>
                  </a:cubicBezTo>
                  <a:cubicBezTo>
                    <a:pt x="123" y="182"/>
                    <a:pt x="123" y="182"/>
                    <a:pt x="123" y="182"/>
                  </a:cubicBezTo>
                  <a:cubicBezTo>
                    <a:pt x="141" y="149"/>
                    <a:pt x="141" y="149"/>
                    <a:pt x="141" y="149"/>
                  </a:cubicBezTo>
                  <a:cubicBezTo>
                    <a:pt x="168" y="149"/>
                    <a:pt x="168" y="149"/>
                    <a:pt x="168" y="149"/>
                  </a:cubicBezTo>
                  <a:cubicBezTo>
                    <a:pt x="181" y="149"/>
                    <a:pt x="192" y="157"/>
                    <a:pt x="196" y="169"/>
                  </a:cubicBezTo>
                  <a:cubicBezTo>
                    <a:pt x="196" y="169"/>
                    <a:pt x="196" y="170"/>
                    <a:pt x="196" y="171"/>
                  </a:cubicBezTo>
                  <a:cubicBezTo>
                    <a:pt x="204" y="219"/>
                    <a:pt x="204" y="219"/>
                    <a:pt x="204" y="219"/>
                  </a:cubicBezTo>
                  <a:cubicBezTo>
                    <a:pt x="196" y="226"/>
                    <a:pt x="186" y="232"/>
                    <a:pt x="176" y="237"/>
                  </a:cubicBezTo>
                  <a:close/>
                  <a:moveTo>
                    <a:pt x="35" y="169"/>
                  </a:moveTo>
                  <a:cubicBezTo>
                    <a:pt x="34" y="174"/>
                    <a:pt x="34" y="174"/>
                    <a:pt x="34" y="174"/>
                  </a:cubicBezTo>
                  <a:cubicBezTo>
                    <a:pt x="36" y="80"/>
                    <a:pt x="36" y="80"/>
                    <a:pt x="36" y="80"/>
                  </a:cubicBezTo>
                  <a:cubicBezTo>
                    <a:pt x="30" y="80"/>
                    <a:pt x="30" y="80"/>
                    <a:pt x="30" y="80"/>
                  </a:cubicBezTo>
                  <a:cubicBezTo>
                    <a:pt x="21" y="131"/>
                    <a:pt x="21" y="131"/>
                    <a:pt x="21" y="131"/>
                  </a:cubicBezTo>
                  <a:cubicBezTo>
                    <a:pt x="20" y="136"/>
                    <a:pt x="16" y="140"/>
                    <a:pt x="11" y="140"/>
                  </a:cubicBezTo>
                  <a:cubicBezTo>
                    <a:pt x="11" y="140"/>
                    <a:pt x="10" y="140"/>
                    <a:pt x="9" y="140"/>
                  </a:cubicBezTo>
                  <a:cubicBezTo>
                    <a:pt x="4" y="139"/>
                    <a:pt x="0" y="133"/>
                    <a:pt x="1" y="128"/>
                  </a:cubicBezTo>
                  <a:cubicBezTo>
                    <a:pt x="12" y="61"/>
                    <a:pt x="12" y="61"/>
                    <a:pt x="12" y="61"/>
                  </a:cubicBezTo>
                  <a:cubicBezTo>
                    <a:pt x="12" y="60"/>
                    <a:pt x="12" y="60"/>
                    <a:pt x="12" y="60"/>
                  </a:cubicBezTo>
                  <a:cubicBezTo>
                    <a:pt x="15" y="52"/>
                    <a:pt x="23" y="47"/>
                    <a:pt x="31" y="47"/>
                  </a:cubicBezTo>
                  <a:cubicBezTo>
                    <a:pt x="49" y="47"/>
                    <a:pt x="49" y="47"/>
                    <a:pt x="49" y="47"/>
                  </a:cubicBezTo>
                  <a:cubicBezTo>
                    <a:pt x="62" y="69"/>
                    <a:pt x="62" y="69"/>
                    <a:pt x="62" y="69"/>
                  </a:cubicBezTo>
                  <a:cubicBezTo>
                    <a:pt x="76" y="47"/>
                    <a:pt x="76" y="47"/>
                    <a:pt x="76" y="47"/>
                  </a:cubicBezTo>
                  <a:cubicBezTo>
                    <a:pt x="94" y="47"/>
                    <a:pt x="94" y="47"/>
                    <a:pt x="94" y="47"/>
                  </a:cubicBezTo>
                  <a:cubicBezTo>
                    <a:pt x="103" y="47"/>
                    <a:pt x="110" y="52"/>
                    <a:pt x="113" y="60"/>
                  </a:cubicBezTo>
                  <a:cubicBezTo>
                    <a:pt x="113" y="61"/>
                    <a:pt x="113" y="61"/>
                    <a:pt x="113" y="61"/>
                  </a:cubicBezTo>
                  <a:cubicBezTo>
                    <a:pt x="114" y="67"/>
                    <a:pt x="114" y="67"/>
                    <a:pt x="114" y="67"/>
                  </a:cubicBezTo>
                  <a:cubicBezTo>
                    <a:pt x="105" y="69"/>
                    <a:pt x="97" y="73"/>
                    <a:pt x="91" y="80"/>
                  </a:cubicBezTo>
                  <a:cubicBezTo>
                    <a:pt x="90" y="80"/>
                    <a:pt x="90" y="80"/>
                    <a:pt x="90" y="80"/>
                  </a:cubicBezTo>
                  <a:cubicBezTo>
                    <a:pt x="90" y="81"/>
                    <a:pt x="90" y="81"/>
                    <a:pt x="90" y="81"/>
                  </a:cubicBezTo>
                  <a:cubicBezTo>
                    <a:pt x="83" y="88"/>
                    <a:pt x="79" y="99"/>
                    <a:pt x="79" y="110"/>
                  </a:cubicBezTo>
                  <a:cubicBezTo>
                    <a:pt x="79" y="120"/>
                    <a:pt x="82" y="129"/>
                    <a:pt x="87" y="137"/>
                  </a:cubicBezTo>
                  <a:cubicBezTo>
                    <a:pt x="77" y="137"/>
                    <a:pt x="77" y="137"/>
                    <a:pt x="77" y="137"/>
                  </a:cubicBezTo>
                  <a:cubicBezTo>
                    <a:pt x="58" y="137"/>
                    <a:pt x="41" y="148"/>
                    <a:pt x="36" y="165"/>
                  </a:cubicBezTo>
                  <a:cubicBezTo>
                    <a:pt x="36" y="166"/>
                    <a:pt x="35" y="167"/>
                    <a:pt x="35" y="169"/>
                  </a:cubicBezTo>
                  <a:close/>
                  <a:moveTo>
                    <a:pt x="62" y="0"/>
                  </a:moveTo>
                  <a:cubicBezTo>
                    <a:pt x="74" y="0"/>
                    <a:pt x="83" y="9"/>
                    <a:pt x="83" y="20"/>
                  </a:cubicBezTo>
                  <a:cubicBezTo>
                    <a:pt x="83" y="31"/>
                    <a:pt x="74" y="40"/>
                    <a:pt x="62" y="40"/>
                  </a:cubicBezTo>
                  <a:cubicBezTo>
                    <a:pt x="51" y="40"/>
                    <a:pt x="42" y="31"/>
                    <a:pt x="42" y="20"/>
                  </a:cubicBezTo>
                  <a:cubicBezTo>
                    <a:pt x="42" y="9"/>
                    <a:pt x="51" y="0"/>
                    <a:pt x="62" y="0"/>
                  </a:cubicBezTo>
                  <a:close/>
                  <a:moveTo>
                    <a:pt x="122" y="79"/>
                  </a:moveTo>
                  <a:cubicBezTo>
                    <a:pt x="140" y="79"/>
                    <a:pt x="154" y="93"/>
                    <a:pt x="154" y="110"/>
                  </a:cubicBezTo>
                  <a:cubicBezTo>
                    <a:pt x="154" y="127"/>
                    <a:pt x="140" y="141"/>
                    <a:pt x="122" y="141"/>
                  </a:cubicBezTo>
                  <a:cubicBezTo>
                    <a:pt x="105" y="141"/>
                    <a:pt x="91" y="127"/>
                    <a:pt x="91" y="110"/>
                  </a:cubicBezTo>
                  <a:cubicBezTo>
                    <a:pt x="91" y="93"/>
                    <a:pt x="105" y="79"/>
                    <a:pt x="122" y="79"/>
                  </a:cubicBezTo>
                  <a:close/>
                  <a:moveTo>
                    <a:pt x="182" y="0"/>
                  </a:moveTo>
                  <a:cubicBezTo>
                    <a:pt x="193" y="0"/>
                    <a:pt x="201" y="9"/>
                    <a:pt x="201" y="20"/>
                  </a:cubicBezTo>
                  <a:cubicBezTo>
                    <a:pt x="201" y="31"/>
                    <a:pt x="193" y="40"/>
                    <a:pt x="182" y="40"/>
                  </a:cubicBezTo>
                  <a:cubicBezTo>
                    <a:pt x="171" y="40"/>
                    <a:pt x="162" y="31"/>
                    <a:pt x="162" y="20"/>
                  </a:cubicBezTo>
                  <a:cubicBezTo>
                    <a:pt x="162" y="9"/>
                    <a:pt x="171" y="0"/>
                    <a:pt x="182" y="0"/>
                  </a:cubicBezTo>
                  <a:close/>
                </a:path>
              </a:pathLst>
            </a:custGeom>
            <a:solidFill>
              <a:schemeClr val="accent2"/>
            </a:solidFill>
            <a:ln w="9525">
              <a:noFill/>
              <a:round/>
              <a:headEnd/>
              <a:tailEnd/>
            </a:ln>
          </p:spPr>
          <p:txBody>
            <a:bodyPr vert="horz" wrap="square" lIns="100817" tIns="50408" rIns="100817" bIns="50408" numCol="1" anchor="t" anchorCtr="0" compatLnSpc="1">
              <a:prstTxWarp prst="textNoShape">
                <a:avLst/>
              </a:prstTxWarp>
            </a:bodyPr>
            <a:lstStyle/>
            <a:p>
              <a:endParaRPr lang="en-US" sz="2205" dirty="0">
                <a:latin typeface="Arial" panose="020B0604020202020204" pitchFamily="34" charset="0"/>
                <a:cs typeface="Arial" panose="020B0604020202020204" pitchFamily="34" charset="0"/>
                <a:sym typeface="Arial" panose="020B0604020202020204" pitchFamily="34" charset="0"/>
              </a:endParaRPr>
            </a:p>
          </p:txBody>
        </p:sp>
        <p:sp>
          <p:nvSpPr>
            <p:cNvPr id="186" name="TextBox 185">
              <a:extLst>
                <a:ext uri="{FF2B5EF4-FFF2-40B4-BE49-F238E27FC236}">
                  <a16:creationId xmlns:a16="http://schemas.microsoft.com/office/drawing/2014/main" id="{C29D1A74-B36E-4303-8596-EB785300B7A8}"/>
                </a:ext>
              </a:extLst>
            </p:cNvPr>
            <p:cNvSpPr txBox="1"/>
            <p:nvPr/>
          </p:nvSpPr>
          <p:spPr>
            <a:xfrm>
              <a:off x="398611" y="4083756"/>
              <a:ext cx="642084" cy="128185"/>
            </a:xfrm>
            <a:prstGeom prst="rect">
              <a:avLst/>
            </a:prstGeom>
            <a:solidFill>
              <a:schemeClr val="bg1"/>
            </a:solidFill>
          </p:spPr>
          <p:txBody>
            <a:bodyPr wrap="square" lIns="0" tIns="0" rIns="0" bIns="0" rtlCol="0">
              <a:noAutofit/>
            </a:bodyPr>
            <a:lstStyle/>
            <a:p>
              <a:pPr defTabSz="456758" fontAlgn="base">
                <a:spcBef>
                  <a:spcPts val="1200"/>
                </a:spcBef>
              </a:pPr>
              <a:r>
                <a:rPr lang="en-US" sz="1200" dirty="0">
                  <a:solidFill>
                    <a:srgbClr val="064E69"/>
                  </a:solidFill>
                  <a:cs typeface="Open Sans Light"/>
                </a:rPr>
                <a:t>Nurses</a:t>
              </a:r>
            </a:p>
          </p:txBody>
        </p:sp>
      </p:grpSp>
      <p:grpSp>
        <p:nvGrpSpPr>
          <p:cNvPr id="190" name="Group 189">
            <a:extLst>
              <a:ext uri="{FF2B5EF4-FFF2-40B4-BE49-F238E27FC236}">
                <a16:creationId xmlns:a16="http://schemas.microsoft.com/office/drawing/2014/main" id="{C9318267-3A14-4F35-AF00-D5B2EE27011D}"/>
              </a:ext>
            </a:extLst>
          </p:cNvPr>
          <p:cNvGrpSpPr/>
          <p:nvPr/>
        </p:nvGrpSpPr>
        <p:grpSpPr>
          <a:xfrm>
            <a:off x="5667261" y="3676885"/>
            <a:ext cx="642084" cy="463708"/>
            <a:chOff x="398611" y="3748233"/>
            <a:chExt cx="642084" cy="463708"/>
          </a:xfrm>
        </p:grpSpPr>
        <p:sp>
          <p:nvSpPr>
            <p:cNvPr id="191" name="Freeform 24">
              <a:extLst>
                <a:ext uri="{FF2B5EF4-FFF2-40B4-BE49-F238E27FC236}">
                  <a16:creationId xmlns:a16="http://schemas.microsoft.com/office/drawing/2014/main" id="{7CA26D84-F3E5-4562-8000-749290E2CF54}"/>
                </a:ext>
              </a:extLst>
            </p:cNvPr>
            <p:cNvSpPr>
              <a:spLocks noEditPoints="1"/>
            </p:cNvSpPr>
            <p:nvPr/>
          </p:nvSpPr>
          <p:spPr bwMode="auto">
            <a:xfrm>
              <a:off x="468348" y="3748233"/>
              <a:ext cx="448797" cy="294576"/>
            </a:xfrm>
            <a:custGeom>
              <a:avLst/>
              <a:gdLst/>
              <a:ahLst/>
              <a:cxnLst>
                <a:cxn ang="0">
                  <a:pos x="231" y="141"/>
                </a:cxn>
                <a:cxn ang="0">
                  <a:pos x="206" y="82"/>
                </a:cxn>
                <a:cxn ang="0">
                  <a:pos x="217" y="156"/>
                </a:cxn>
                <a:cxn ang="0">
                  <a:pos x="210" y="168"/>
                </a:cxn>
                <a:cxn ang="0">
                  <a:pos x="208" y="165"/>
                </a:cxn>
                <a:cxn ang="0">
                  <a:pos x="157" y="137"/>
                </a:cxn>
                <a:cxn ang="0">
                  <a:pos x="141" y="71"/>
                </a:cxn>
                <a:cxn ang="0">
                  <a:pos x="144" y="62"/>
                </a:cxn>
                <a:cxn ang="0">
                  <a:pos x="201" y="48"/>
                </a:cxn>
                <a:cxn ang="0">
                  <a:pos x="219" y="62"/>
                </a:cxn>
                <a:cxn ang="0">
                  <a:pos x="234" y="141"/>
                </a:cxn>
                <a:cxn ang="0">
                  <a:pos x="170" y="198"/>
                </a:cxn>
                <a:cxn ang="0">
                  <a:pos x="164" y="242"/>
                </a:cxn>
                <a:cxn ang="0">
                  <a:pos x="81" y="242"/>
                </a:cxn>
                <a:cxn ang="0">
                  <a:pos x="75" y="198"/>
                </a:cxn>
                <a:cxn ang="0">
                  <a:pos x="40" y="219"/>
                </a:cxn>
                <a:cxn ang="0">
                  <a:pos x="48" y="169"/>
                </a:cxn>
                <a:cxn ang="0">
                  <a:pos x="104" y="149"/>
                </a:cxn>
                <a:cxn ang="0">
                  <a:pos x="141" y="149"/>
                </a:cxn>
                <a:cxn ang="0">
                  <a:pos x="196" y="169"/>
                </a:cxn>
                <a:cxn ang="0">
                  <a:pos x="204" y="219"/>
                </a:cxn>
                <a:cxn ang="0">
                  <a:pos x="35" y="169"/>
                </a:cxn>
                <a:cxn ang="0">
                  <a:pos x="36" y="80"/>
                </a:cxn>
                <a:cxn ang="0">
                  <a:pos x="21" y="131"/>
                </a:cxn>
                <a:cxn ang="0">
                  <a:pos x="9" y="140"/>
                </a:cxn>
                <a:cxn ang="0">
                  <a:pos x="12" y="61"/>
                </a:cxn>
                <a:cxn ang="0">
                  <a:pos x="31" y="47"/>
                </a:cxn>
                <a:cxn ang="0">
                  <a:pos x="62" y="69"/>
                </a:cxn>
                <a:cxn ang="0">
                  <a:pos x="94" y="47"/>
                </a:cxn>
                <a:cxn ang="0">
                  <a:pos x="113" y="61"/>
                </a:cxn>
                <a:cxn ang="0">
                  <a:pos x="91" y="80"/>
                </a:cxn>
                <a:cxn ang="0">
                  <a:pos x="90" y="81"/>
                </a:cxn>
                <a:cxn ang="0">
                  <a:pos x="87" y="137"/>
                </a:cxn>
                <a:cxn ang="0">
                  <a:pos x="36" y="165"/>
                </a:cxn>
                <a:cxn ang="0">
                  <a:pos x="62" y="0"/>
                </a:cxn>
                <a:cxn ang="0">
                  <a:pos x="62" y="40"/>
                </a:cxn>
                <a:cxn ang="0">
                  <a:pos x="62" y="0"/>
                </a:cxn>
                <a:cxn ang="0">
                  <a:pos x="154" y="110"/>
                </a:cxn>
                <a:cxn ang="0">
                  <a:pos x="91" y="110"/>
                </a:cxn>
                <a:cxn ang="0">
                  <a:pos x="182" y="0"/>
                </a:cxn>
                <a:cxn ang="0">
                  <a:pos x="182" y="40"/>
                </a:cxn>
                <a:cxn ang="0">
                  <a:pos x="182" y="0"/>
                </a:cxn>
              </a:cxnLst>
              <a:rect l="0" t="0" r="r" b="b"/>
              <a:pathLst>
                <a:path w="241" h="248">
                  <a:moveTo>
                    <a:pt x="234" y="141"/>
                  </a:moveTo>
                  <a:cubicBezTo>
                    <a:pt x="233" y="141"/>
                    <a:pt x="232" y="141"/>
                    <a:pt x="231" y="141"/>
                  </a:cubicBezTo>
                  <a:cubicBezTo>
                    <a:pt x="227" y="141"/>
                    <a:pt x="223" y="139"/>
                    <a:pt x="222" y="134"/>
                  </a:cubicBezTo>
                  <a:cubicBezTo>
                    <a:pt x="206" y="82"/>
                    <a:pt x="206" y="82"/>
                    <a:pt x="206" y="82"/>
                  </a:cubicBezTo>
                  <a:cubicBezTo>
                    <a:pt x="198" y="82"/>
                    <a:pt x="198" y="82"/>
                    <a:pt x="198" y="82"/>
                  </a:cubicBezTo>
                  <a:cubicBezTo>
                    <a:pt x="217" y="156"/>
                    <a:pt x="217" y="156"/>
                    <a:pt x="217" y="156"/>
                  </a:cubicBezTo>
                  <a:cubicBezTo>
                    <a:pt x="218" y="157"/>
                    <a:pt x="218" y="158"/>
                    <a:pt x="218" y="160"/>
                  </a:cubicBezTo>
                  <a:cubicBezTo>
                    <a:pt x="218" y="164"/>
                    <a:pt x="214" y="168"/>
                    <a:pt x="210" y="168"/>
                  </a:cubicBezTo>
                  <a:cubicBezTo>
                    <a:pt x="209" y="168"/>
                    <a:pt x="209" y="168"/>
                    <a:pt x="209" y="168"/>
                  </a:cubicBezTo>
                  <a:cubicBezTo>
                    <a:pt x="208" y="167"/>
                    <a:pt x="208" y="166"/>
                    <a:pt x="208" y="165"/>
                  </a:cubicBezTo>
                  <a:cubicBezTo>
                    <a:pt x="203" y="148"/>
                    <a:pt x="186" y="137"/>
                    <a:pt x="168" y="137"/>
                  </a:cubicBezTo>
                  <a:cubicBezTo>
                    <a:pt x="157" y="137"/>
                    <a:pt x="157" y="137"/>
                    <a:pt x="157" y="137"/>
                  </a:cubicBezTo>
                  <a:cubicBezTo>
                    <a:pt x="163" y="129"/>
                    <a:pt x="166" y="120"/>
                    <a:pt x="166" y="110"/>
                  </a:cubicBezTo>
                  <a:cubicBezTo>
                    <a:pt x="166" y="93"/>
                    <a:pt x="156" y="78"/>
                    <a:pt x="141" y="71"/>
                  </a:cubicBezTo>
                  <a:cubicBezTo>
                    <a:pt x="144" y="62"/>
                    <a:pt x="144" y="62"/>
                    <a:pt x="144" y="62"/>
                  </a:cubicBezTo>
                  <a:cubicBezTo>
                    <a:pt x="144" y="62"/>
                    <a:pt x="144" y="62"/>
                    <a:pt x="144" y="62"/>
                  </a:cubicBezTo>
                  <a:cubicBezTo>
                    <a:pt x="147" y="53"/>
                    <a:pt x="154" y="48"/>
                    <a:pt x="162" y="48"/>
                  </a:cubicBezTo>
                  <a:cubicBezTo>
                    <a:pt x="201" y="48"/>
                    <a:pt x="201" y="48"/>
                    <a:pt x="201" y="48"/>
                  </a:cubicBezTo>
                  <a:cubicBezTo>
                    <a:pt x="209" y="48"/>
                    <a:pt x="216" y="53"/>
                    <a:pt x="219" y="62"/>
                  </a:cubicBezTo>
                  <a:cubicBezTo>
                    <a:pt x="219" y="62"/>
                    <a:pt x="219" y="62"/>
                    <a:pt x="219" y="62"/>
                  </a:cubicBezTo>
                  <a:cubicBezTo>
                    <a:pt x="240" y="129"/>
                    <a:pt x="240" y="129"/>
                    <a:pt x="240" y="129"/>
                  </a:cubicBezTo>
                  <a:cubicBezTo>
                    <a:pt x="241" y="134"/>
                    <a:pt x="238" y="139"/>
                    <a:pt x="234" y="141"/>
                  </a:cubicBezTo>
                  <a:close/>
                  <a:moveTo>
                    <a:pt x="176" y="237"/>
                  </a:moveTo>
                  <a:cubicBezTo>
                    <a:pt x="170" y="198"/>
                    <a:pt x="170" y="198"/>
                    <a:pt x="170" y="198"/>
                  </a:cubicBezTo>
                  <a:cubicBezTo>
                    <a:pt x="162" y="198"/>
                    <a:pt x="162" y="198"/>
                    <a:pt x="162" y="198"/>
                  </a:cubicBezTo>
                  <a:cubicBezTo>
                    <a:pt x="164" y="242"/>
                    <a:pt x="164" y="242"/>
                    <a:pt x="164" y="242"/>
                  </a:cubicBezTo>
                  <a:cubicBezTo>
                    <a:pt x="151" y="246"/>
                    <a:pt x="137" y="248"/>
                    <a:pt x="122" y="248"/>
                  </a:cubicBezTo>
                  <a:cubicBezTo>
                    <a:pt x="108" y="248"/>
                    <a:pt x="94" y="246"/>
                    <a:pt x="81" y="242"/>
                  </a:cubicBezTo>
                  <a:cubicBezTo>
                    <a:pt x="83" y="198"/>
                    <a:pt x="83" y="198"/>
                    <a:pt x="83" y="198"/>
                  </a:cubicBezTo>
                  <a:cubicBezTo>
                    <a:pt x="75" y="198"/>
                    <a:pt x="75" y="198"/>
                    <a:pt x="75" y="198"/>
                  </a:cubicBezTo>
                  <a:cubicBezTo>
                    <a:pt x="67" y="237"/>
                    <a:pt x="67" y="237"/>
                    <a:pt x="67" y="237"/>
                  </a:cubicBezTo>
                  <a:cubicBezTo>
                    <a:pt x="57" y="232"/>
                    <a:pt x="48" y="226"/>
                    <a:pt x="40" y="219"/>
                  </a:cubicBezTo>
                  <a:cubicBezTo>
                    <a:pt x="48" y="171"/>
                    <a:pt x="48" y="171"/>
                    <a:pt x="48" y="171"/>
                  </a:cubicBezTo>
                  <a:cubicBezTo>
                    <a:pt x="48" y="170"/>
                    <a:pt x="48" y="169"/>
                    <a:pt x="48" y="169"/>
                  </a:cubicBezTo>
                  <a:cubicBezTo>
                    <a:pt x="52" y="157"/>
                    <a:pt x="63" y="149"/>
                    <a:pt x="77" y="149"/>
                  </a:cubicBezTo>
                  <a:cubicBezTo>
                    <a:pt x="104" y="149"/>
                    <a:pt x="104" y="149"/>
                    <a:pt x="104" y="149"/>
                  </a:cubicBezTo>
                  <a:cubicBezTo>
                    <a:pt x="123" y="182"/>
                    <a:pt x="123" y="182"/>
                    <a:pt x="123" y="182"/>
                  </a:cubicBezTo>
                  <a:cubicBezTo>
                    <a:pt x="141" y="149"/>
                    <a:pt x="141" y="149"/>
                    <a:pt x="141" y="149"/>
                  </a:cubicBezTo>
                  <a:cubicBezTo>
                    <a:pt x="168" y="149"/>
                    <a:pt x="168" y="149"/>
                    <a:pt x="168" y="149"/>
                  </a:cubicBezTo>
                  <a:cubicBezTo>
                    <a:pt x="181" y="149"/>
                    <a:pt x="192" y="157"/>
                    <a:pt x="196" y="169"/>
                  </a:cubicBezTo>
                  <a:cubicBezTo>
                    <a:pt x="196" y="169"/>
                    <a:pt x="196" y="170"/>
                    <a:pt x="196" y="171"/>
                  </a:cubicBezTo>
                  <a:cubicBezTo>
                    <a:pt x="204" y="219"/>
                    <a:pt x="204" y="219"/>
                    <a:pt x="204" y="219"/>
                  </a:cubicBezTo>
                  <a:cubicBezTo>
                    <a:pt x="196" y="226"/>
                    <a:pt x="186" y="232"/>
                    <a:pt x="176" y="237"/>
                  </a:cubicBezTo>
                  <a:close/>
                  <a:moveTo>
                    <a:pt x="35" y="169"/>
                  </a:moveTo>
                  <a:cubicBezTo>
                    <a:pt x="34" y="174"/>
                    <a:pt x="34" y="174"/>
                    <a:pt x="34" y="174"/>
                  </a:cubicBezTo>
                  <a:cubicBezTo>
                    <a:pt x="36" y="80"/>
                    <a:pt x="36" y="80"/>
                    <a:pt x="36" y="80"/>
                  </a:cubicBezTo>
                  <a:cubicBezTo>
                    <a:pt x="30" y="80"/>
                    <a:pt x="30" y="80"/>
                    <a:pt x="30" y="80"/>
                  </a:cubicBezTo>
                  <a:cubicBezTo>
                    <a:pt x="21" y="131"/>
                    <a:pt x="21" y="131"/>
                    <a:pt x="21" y="131"/>
                  </a:cubicBezTo>
                  <a:cubicBezTo>
                    <a:pt x="20" y="136"/>
                    <a:pt x="16" y="140"/>
                    <a:pt x="11" y="140"/>
                  </a:cubicBezTo>
                  <a:cubicBezTo>
                    <a:pt x="11" y="140"/>
                    <a:pt x="10" y="140"/>
                    <a:pt x="9" y="140"/>
                  </a:cubicBezTo>
                  <a:cubicBezTo>
                    <a:pt x="4" y="139"/>
                    <a:pt x="0" y="133"/>
                    <a:pt x="1" y="128"/>
                  </a:cubicBezTo>
                  <a:cubicBezTo>
                    <a:pt x="12" y="61"/>
                    <a:pt x="12" y="61"/>
                    <a:pt x="12" y="61"/>
                  </a:cubicBezTo>
                  <a:cubicBezTo>
                    <a:pt x="12" y="60"/>
                    <a:pt x="12" y="60"/>
                    <a:pt x="12" y="60"/>
                  </a:cubicBezTo>
                  <a:cubicBezTo>
                    <a:pt x="15" y="52"/>
                    <a:pt x="23" y="47"/>
                    <a:pt x="31" y="47"/>
                  </a:cubicBezTo>
                  <a:cubicBezTo>
                    <a:pt x="49" y="47"/>
                    <a:pt x="49" y="47"/>
                    <a:pt x="49" y="47"/>
                  </a:cubicBezTo>
                  <a:cubicBezTo>
                    <a:pt x="62" y="69"/>
                    <a:pt x="62" y="69"/>
                    <a:pt x="62" y="69"/>
                  </a:cubicBezTo>
                  <a:cubicBezTo>
                    <a:pt x="76" y="47"/>
                    <a:pt x="76" y="47"/>
                    <a:pt x="76" y="47"/>
                  </a:cubicBezTo>
                  <a:cubicBezTo>
                    <a:pt x="94" y="47"/>
                    <a:pt x="94" y="47"/>
                    <a:pt x="94" y="47"/>
                  </a:cubicBezTo>
                  <a:cubicBezTo>
                    <a:pt x="103" y="47"/>
                    <a:pt x="110" y="52"/>
                    <a:pt x="113" y="60"/>
                  </a:cubicBezTo>
                  <a:cubicBezTo>
                    <a:pt x="113" y="61"/>
                    <a:pt x="113" y="61"/>
                    <a:pt x="113" y="61"/>
                  </a:cubicBezTo>
                  <a:cubicBezTo>
                    <a:pt x="114" y="67"/>
                    <a:pt x="114" y="67"/>
                    <a:pt x="114" y="67"/>
                  </a:cubicBezTo>
                  <a:cubicBezTo>
                    <a:pt x="105" y="69"/>
                    <a:pt x="97" y="73"/>
                    <a:pt x="91" y="80"/>
                  </a:cubicBezTo>
                  <a:cubicBezTo>
                    <a:pt x="90" y="80"/>
                    <a:pt x="90" y="80"/>
                    <a:pt x="90" y="80"/>
                  </a:cubicBezTo>
                  <a:cubicBezTo>
                    <a:pt x="90" y="81"/>
                    <a:pt x="90" y="81"/>
                    <a:pt x="90" y="81"/>
                  </a:cubicBezTo>
                  <a:cubicBezTo>
                    <a:pt x="83" y="88"/>
                    <a:pt x="79" y="99"/>
                    <a:pt x="79" y="110"/>
                  </a:cubicBezTo>
                  <a:cubicBezTo>
                    <a:pt x="79" y="120"/>
                    <a:pt x="82" y="129"/>
                    <a:pt x="87" y="137"/>
                  </a:cubicBezTo>
                  <a:cubicBezTo>
                    <a:pt x="77" y="137"/>
                    <a:pt x="77" y="137"/>
                    <a:pt x="77" y="137"/>
                  </a:cubicBezTo>
                  <a:cubicBezTo>
                    <a:pt x="58" y="137"/>
                    <a:pt x="41" y="148"/>
                    <a:pt x="36" y="165"/>
                  </a:cubicBezTo>
                  <a:cubicBezTo>
                    <a:pt x="36" y="166"/>
                    <a:pt x="35" y="167"/>
                    <a:pt x="35" y="169"/>
                  </a:cubicBezTo>
                  <a:close/>
                  <a:moveTo>
                    <a:pt x="62" y="0"/>
                  </a:moveTo>
                  <a:cubicBezTo>
                    <a:pt x="74" y="0"/>
                    <a:pt x="83" y="9"/>
                    <a:pt x="83" y="20"/>
                  </a:cubicBezTo>
                  <a:cubicBezTo>
                    <a:pt x="83" y="31"/>
                    <a:pt x="74" y="40"/>
                    <a:pt x="62" y="40"/>
                  </a:cubicBezTo>
                  <a:cubicBezTo>
                    <a:pt x="51" y="40"/>
                    <a:pt x="42" y="31"/>
                    <a:pt x="42" y="20"/>
                  </a:cubicBezTo>
                  <a:cubicBezTo>
                    <a:pt x="42" y="9"/>
                    <a:pt x="51" y="0"/>
                    <a:pt x="62" y="0"/>
                  </a:cubicBezTo>
                  <a:close/>
                  <a:moveTo>
                    <a:pt x="122" y="79"/>
                  </a:moveTo>
                  <a:cubicBezTo>
                    <a:pt x="140" y="79"/>
                    <a:pt x="154" y="93"/>
                    <a:pt x="154" y="110"/>
                  </a:cubicBezTo>
                  <a:cubicBezTo>
                    <a:pt x="154" y="127"/>
                    <a:pt x="140" y="141"/>
                    <a:pt x="122" y="141"/>
                  </a:cubicBezTo>
                  <a:cubicBezTo>
                    <a:pt x="105" y="141"/>
                    <a:pt x="91" y="127"/>
                    <a:pt x="91" y="110"/>
                  </a:cubicBezTo>
                  <a:cubicBezTo>
                    <a:pt x="91" y="93"/>
                    <a:pt x="105" y="79"/>
                    <a:pt x="122" y="79"/>
                  </a:cubicBezTo>
                  <a:close/>
                  <a:moveTo>
                    <a:pt x="182" y="0"/>
                  </a:moveTo>
                  <a:cubicBezTo>
                    <a:pt x="193" y="0"/>
                    <a:pt x="201" y="9"/>
                    <a:pt x="201" y="20"/>
                  </a:cubicBezTo>
                  <a:cubicBezTo>
                    <a:pt x="201" y="31"/>
                    <a:pt x="193" y="40"/>
                    <a:pt x="182" y="40"/>
                  </a:cubicBezTo>
                  <a:cubicBezTo>
                    <a:pt x="171" y="40"/>
                    <a:pt x="162" y="31"/>
                    <a:pt x="162" y="20"/>
                  </a:cubicBezTo>
                  <a:cubicBezTo>
                    <a:pt x="162" y="9"/>
                    <a:pt x="171" y="0"/>
                    <a:pt x="182" y="0"/>
                  </a:cubicBezTo>
                  <a:close/>
                </a:path>
              </a:pathLst>
            </a:custGeom>
            <a:solidFill>
              <a:schemeClr val="accent2"/>
            </a:solidFill>
            <a:ln w="9525">
              <a:noFill/>
              <a:round/>
              <a:headEnd/>
              <a:tailEnd/>
            </a:ln>
          </p:spPr>
          <p:txBody>
            <a:bodyPr vert="horz" wrap="square" lIns="100817" tIns="50408" rIns="100817" bIns="50408" numCol="1" anchor="t" anchorCtr="0" compatLnSpc="1">
              <a:prstTxWarp prst="textNoShape">
                <a:avLst/>
              </a:prstTxWarp>
            </a:bodyPr>
            <a:lstStyle/>
            <a:p>
              <a:endParaRPr lang="en-US" sz="2205" dirty="0">
                <a:latin typeface="Arial" panose="020B0604020202020204" pitchFamily="34" charset="0"/>
                <a:cs typeface="Arial" panose="020B0604020202020204" pitchFamily="34" charset="0"/>
                <a:sym typeface="Arial" panose="020B0604020202020204" pitchFamily="34" charset="0"/>
              </a:endParaRPr>
            </a:p>
          </p:txBody>
        </p:sp>
        <p:sp>
          <p:nvSpPr>
            <p:cNvPr id="192" name="TextBox 191">
              <a:extLst>
                <a:ext uri="{FF2B5EF4-FFF2-40B4-BE49-F238E27FC236}">
                  <a16:creationId xmlns:a16="http://schemas.microsoft.com/office/drawing/2014/main" id="{6186FB94-8816-4FEA-96F1-20F4FDAC39CC}"/>
                </a:ext>
              </a:extLst>
            </p:cNvPr>
            <p:cNvSpPr txBox="1"/>
            <p:nvPr/>
          </p:nvSpPr>
          <p:spPr>
            <a:xfrm>
              <a:off x="398611" y="4083756"/>
              <a:ext cx="642084" cy="128185"/>
            </a:xfrm>
            <a:prstGeom prst="rect">
              <a:avLst/>
            </a:prstGeom>
            <a:solidFill>
              <a:schemeClr val="bg1"/>
            </a:solidFill>
          </p:spPr>
          <p:txBody>
            <a:bodyPr wrap="square" lIns="0" tIns="0" rIns="0" bIns="0" rtlCol="0">
              <a:noAutofit/>
            </a:bodyPr>
            <a:lstStyle/>
            <a:p>
              <a:pPr defTabSz="456758" fontAlgn="base">
                <a:spcBef>
                  <a:spcPts val="1200"/>
                </a:spcBef>
              </a:pPr>
              <a:r>
                <a:rPr lang="en-US" sz="1200" dirty="0">
                  <a:solidFill>
                    <a:srgbClr val="064E69"/>
                  </a:solidFill>
                  <a:cs typeface="Open Sans Light"/>
                </a:rPr>
                <a:t>Nurses</a:t>
              </a:r>
            </a:p>
          </p:txBody>
        </p:sp>
      </p:grpSp>
      <p:grpSp>
        <p:nvGrpSpPr>
          <p:cNvPr id="193" name="Group 192">
            <a:extLst>
              <a:ext uri="{FF2B5EF4-FFF2-40B4-BE49-F238E27FC236}">
                <a16:creationId xmlns:a16="http://schemas.microsoft.com/office/drawing/2014/main" id="{D458678A-276D-4F06-BED2-C820C484276E}"/>
              </a:ext>
            </a:extLst>
          </p:cNvPr>
          <p:cNvGrpSpPr/>
          <p:nvPr/>
        </p:nvGrpSpPr>
        <p:grpSpPr>
          <a:xfrm>
            <a:off x="7116867" y="3645564"/>
            <a:ext cx="642084" cy="463708"/>
            <a:chOff x="398611" y="3748233"/>
            <a:chExt cx="642084" cy="463708"/>
          </a:xfrm>
        </p:grpSpPr>
        <p:sp>
          <p:nvSpPr>
            <p:cNvPr id="194" name="Freeform 24">
              <a:extLst>
                <a:ext uri="{FF2B5EF4-FFF2-40B4-BE49-F238E27FC236}">
                  <a16:creationId xmlns:a16="http://schemas.microsoft.com/office/drawing/2014/main" id="{D91A08BB-BBE0-40F6-80B9-FDA41D3D39D2}"/>
                </a:ext>
              </a:extLst>
            </p:cNvPr>
            <p:cNvSpPr>
              <a:spLocks noEditPoints="1"/>
            </p:cNvSpPr>
            <p:nvPr/>
          </p:nvSpPr>
          <p:spPr bwMode="auto">
            <a:xfrm>
              <a:off x="468348" y="3748233"/>
              <a:ext cx="448797" cy="294576"/>
            </a:xfrm>
            <a:custGeom>
              <a:avLst/>
              <a:gdLst/>
              <a:ahLst/>
              <a:cxnLst>
                <a:cxn ang="0">
                  <a:pos x="231" y="141"/>
                </a:cxn>
                <a:cxn ang="0">
                  <a:pos x="206" y="82"/>
                </a:cxn>
                <a:cxn ang="0">
                  <a:pos x="217" y="156"/>
                </a:cxn>
                <a:cxn ang="0">
                  <a:pos x="210" y="168"/>
                </a:cxn>
                <a:cxn ang="0">
                  <a:pos x="208" y="165"/>
                </a:cxn>
                <a:cxn ang="0">
                  <a:pos x="157" y="137"/>
                </a:cxn>
                <a:cxn ang="0">
                  <a:pos x="141" y="71"/>
                </a:cxn>
                <a:cxn ang="0">
                  <a:pos x="144" y="62"/>
                </a:cxn>
                <a:cxn ang="0">
                  <a:pos x="201" y="48"/>
                </a:cxn>
                <a:cxn ang="0">
                  <a:pos x="219" y="62"/>
                </a:cxn>
                <a:cxn ang="0">
                  <a:pos x="234" y="141"/>
                </a:cxn>
                <a:cxn ang="0">
                  <a:pos x="170" y="198"/>
                </a:cxn>
                <a:cxn ang="0">
                  <a:pos x="164" y="242"/>
                </a:cxn>
                <a:cxn ang="0">
                  <a:pos x="81" y="242"/>
                </a:cxn>
                <a:cxn ang="0">
                  <a:pos x="75" y="198"/>
                </a:cxn>
                <a:cxn ang="0">
                  <a:pos x="40" y="219"/>
                </a:cxn>
                <a:cxn ang="0">
                  <a:pos x="48" y="169"/>
                </a:cxn>
                <a:cxn ang="0">
                  <a:pos x="104" y="149"/>
                </a:cxn>
                <a:cxn ang="0">
                  <a:pos x="141" y="149"/>
                </a:cxn>
                <a:cxn ang="0">
                  <a:pos x="196" y="169"/>
                </a:cxn>
                <a:cxn ang="0">
                  <a:pos x="204" y="219"/>
                </a:cxn>
                <a:cxn ang="0">
                  <a:pos x="35" y="169"/>
                </a:cxn>
                <a:cxn ang="0">
                  <a:pos x="36" y="80"/>
                </a:cxn>
                <a:cxn ang="0">
                  <a:pos x="21" y="131"/>
                </a:cxn>
                <a:cxn ang="0">
                  <a:pos x="9" y="140"/>
                </a:cxn>
                <a:cxn ang="0">
                  <a:pos x="12" y="61"/>
                </a:cxn>
                <a:cxn ang="0">
                  <a:pos x="31" y="47"/>
                </a:cxn>
                <a:cxn ang="0">
                  <a:pos x="62" y="69"/>
                </a:cxn>
                <a:cxn ang="0">
                  <a:pos x="94" y="47"/>
                </a:cxn>
                <a:cxn ang="0">
                  <a:pos x="113" y="61"/>
                </a:cxn>
                <a:cxn ang="0">
                  <a:pos x="91" y="80"/>
                </a:cxn>
                <a:cxn ang="0">
                  <a:pos x="90" y="81"/>
                </a:cxn>
                <a:cxn ang="0">
                  <a:pos x="87" y="137"/>
                </a:cxn>
                <a:cxn ang="0">
                  <a:pos x="36" y="165"/>
                </a:cxn>
                <a:cxn ang="0">
                  <a:pos x="62" y="0"/>
                </a:cxn>
                <a:cxn ang="0">
                  <a:pos x="62" y="40"/>
                </a:cxn>
                <a:cxn ang="0">
                  <a:pos x="62" y="0"/>
                </a:cxn>
                <a:cxn ang="0">
                  <a:pos x="154" y="110"/>
                </a:cxn>
                <a:cxn ang="0">
                  <a:pos x="91" y="110"/>
                </a:cxn>
                <a:cxn ang="0">
                  <a:pos x="182" y="0"/>
                </a:cxn>
                <a:cxn ang="0">
                  <a:pos x="182" y="40"/>
                </a:cxn>
                <a:cxn ang="0">
                  <a:pos x="182" y="0"/>
                </a:cxn>
              </a:cxnLst>
              <a:rect l="0" t="0" r="r" b="b"/>
              <a:pathLst>
                <a:path w="241" h="248">
                  <a:moveTo>
                    <a:pt x="234" y="141"/>
                  </a:moveTo>
                  <a:cubicBezTo>
                    <a:pt x="233" y="141"/>
                    <a:pt x="232" y="141"/>
                    <a:pt x="231" y="141"/>
                  </a:cubicBezTo>
                  <a:cubicBezTo>
                    <a:pt x="227" y="141"/>
                    <a:pt x="223" y="139"/>
                    <a:pt x="222" y="134"/>
                  </a:cubicBezTo>
                  <a:cubicBezTo>
                    <a:pt x="206" y="82"/>
                    <a:pt x="206" y="82"/>
                    <a:pt x="206" y="82"/>
                  </a:cubicBezTo>
                  <a:cubicBezTo>
                    <a:pt x="198" y="82"/>
                    <a:pt x="198" y="82"/>
                    <a:pt x="198" y="82"/>
                  </a:cubicBezTo>
                  <a:cubicBezTo>
                    <a:pt x="217" y="156"/>
                    <a:pt x="217" y="156"/>
                    <a:pt x="217" y="156"/>
                  </a:cubicBezTo>
                  <a:cubicBezTo>
                    <a:pt x="218" y="157"/>
                    <a:pt x="218" y="158"/>
                    <a:pt x="218" y="160"/>
                  </a:cubicBezTo>
                  <a:cubicBezTo>
                    <a:pt x="218" y="164"/>
                    <a:pt x="214" y="168"/>
                    <a:pt x="210" y="168"/>
                  </a:cubicBezTo>
                  <a:cubicBezTo>
                    <a:pt x="209" y="168"/>
                    <a:pt x="209" y="168"/>
                    <a:pt x="209" y="168"/>
                  </a:cubicBezTo>
                  <a:cubicBezTo>
                    <a:pt x="208" y="167"/>
                    <a:pt x="208" y="166"/>
                    <a:pt x="208" y="165"/>
                  </a:cubicBezTo>
                  <a:cubicBezTo>
                    <a:pt x="203" y="148"/>
                    <a:pt x="186" y="137"/>
                    <a:pt x="168" y="137"/>
                  </a:cubicBezTo>
                  <a:cubicBezTo>
                    <a:pt x="157" y="137"/>
                    <a:pt x="157" y="137"/>
                    <a:pt x="157" y="137"/>
                  </a:cubicBezTo>
                  <a:cubicBezTo>
                    <a:pt x="163" y="129"/>
                    <a:pt x="166" y="120"/>
                    <a:pt x="166" y="110"/>
                  </a:cubicBezTo>
                  <a:cubicBezTo>
                    <a:pt x="166" y="93"/>
                    <a:pt x="156" y="78"/>
                    <a:pt x="141" y="71"/>
                  </a:cubicBezTo>
                  <a:cubicBezTo>
                    <a:pt x="144" y="62"/>
                    <a:pt x="144" y="62"/>
                    <a:pt x="144" y="62"/>
                  </a:cubicBezTo>
                  <a:cubicBezTo>
                    <a:pt x="144" y="62"/>
                    <a:pt x="144" y="62"/>
                    <a:pt x="144" y="62"/>
                  </a:cubicBezTo>
                  <a:cubicBezTo>
                    <a:pt x="147" y="53"/>
                    <a:pt x="154" y="48"/>
                    <a:pt x="162" y="48"/>
                  </a:cubicBezTo>
                  <a:cubicBezTo>
                    <a:pt x="201" y="48"/>
                    <a:pt x="201" y="48"/>
                    <a:pt x="201" y="48"/>
                  </a:cubicBezTo>
                  <a:cubicBezTo>
                    <a:pt x="209" y="48"/>
                    <a:pt x="216" y="53"/>
                    <a:pt x="219" y="62"/>
                  </a:cubicBezTo>
                  <a:cubicBezTo>
                    <a:pt x="219" y="62"/>
                    <a:pt x="219" y="62"/>
                    <a:pt x="219" y="62"/>
                  </a:cubicBezTo>
                  <a:cubicBezTo>
                    <a:pt x="240" y="129"/>
                    <a:pt x="240" y="129"/>
                    <a:pt x="240" y="129"/>
                  </a:cubicBezTo>
                  <a:cubicBezTo>
                    <a:pt x="241" y="134"/>
                    <a:pt x="238" y="139"/>
                    <a:pt x="234" y="141"/>
                  </a:cubicBezTo>
                  <a:close/>
                  <a:moveTo>
                    <a:pt x="176" y="237"/>
                  </a:moveTo>
                  <a:cubicBezTo>
                    <a:pt x="170" y="198"/>
                    <a:pt x="170" y="198"/>
                    <a:pt x="170" y="198"/>
                  </a:cubicBezTo>
                  <a:cubicBezTo>
                    <a:pt x="162" y="198"/>
                    <a:pt x="162" y="198"/>
                    <a:pt x="162" y="198"/>
                  </a:cubicBezTo>
                  <a:cubicBezTo>
                    <a:pt x="164" y="242"/>
                    <a:pt x="164" y="242"/>
                    <a:pt x="164" y="242"/>
                  </a:cubicBezTo>
                  <a:cubicBezTo>
                    <a:pt x="151" y="246"/>
                    <a:pt x="137" y="248"/>
                    <a:pt x="122" y="248"/>
                  </a:cubicBezTo>
                  <a:cubicBezTo>
                    <a:pt x="108" y="248"/>
                    <a:pt x="94" y="246"/>
                    <a:pt x="81" y="242"/>
                  </a:cubicBezTo>
                  <a:cubicBezTo>
                    <a:pt x="83" y="198"/>
                    <a:pt x="83" y="198"/>
                    <a:pt x="83" y="198"/>
                  </a:cubicBezTo>
                  <a:cubicBezTo>
                    <a:pt x="75" y="198"/>
                    <a:pt x="75" y="198"/>
                    <a:pt x="75" y="198"/>
                  </a:cubicBezTo>
                  <a:cubicBezTo>
                    <a:pt x="67" y="237"/>
                    <a:pt x="67" y="237"/>
                    <a:pt x="67" y="237"/>
                  </a:cubicBezTo>
                  <a:cubicBezTo>
                    <a:pt x="57" y="232"/>
                    <a:pt x="48" y="226"/>
                    <a:pt x="40" y="219"/>
                  </a:cubicBezTo>
                  <a:cubicBezTo>
                    <a:pt x="48" y="171"/>
                    <a:pt x="48" y="171"/>
                    <a:pt x="48" y="171"/>
                  </a:cubicBezTo>
                  <a:cubicBezTo>
                    <a:pt x="48" y="170"/>
                    <a:pt x="48" y="169"/>
                    <a:pt x="48" y="169"/>
                  </a:cubicBezTo>
                  <a:cubicBezTo>
                    <a:pt x="52" y="157"/>
                    <a:pt x="63" y="149"/>
                    <a:pt x="77" y="149"/>
                  </a:cubicBezTo>
                  <a:cubicBezTo>
                    <a:pt x="104" y="149"/>
                    <a:pt x="104" y="149"/>
                    <a:pt x="104" y="149"/>
                  </a:cubicBezTo>
                  <a:cubicBezTo>
                    <a:pt x="123" y="182"/>
                    <a:pt x="123" y="182"/>
                    <a:pt x="123" y="182"/>
                  </a:cubicBezTo>
                  <a:cubicBezTo>
                    <a:pt x="141" y="149"/>
                    <a:pt x="141" y="149"/>
                    <a:pt x="141" y="149"/>
                  </a:cubicBezTo>
                  <a:cubicBezTo>
                    <a:pt x="168" y="149"/>
                    <a:pt x="168" y="149"/>
                    <a:pt x="168" y="149"/>
                  </a:cubicBezTo>
                  <a:cubicBezTo>
                    <a:pt x="181" y="149"/>
                    <a:pt x="192" y="157"/>
                    <a:pt x="196" y="169"/>
                  </a:cubicBezTo>
                  <a:cubicBezTo>
                    <a:pt x="196" y="169"/>
                    <a:pt x="196" y="170"/>
                    <a:pt x="196" y="171"/>
                  </a:cubicBezTo>
                  <a:cubicBezTo>
                    <a:pt x="204" y="219"/>
                    <a:pt x="204" y="219"/>
                    <a:pt x="204" y="219"/>
                  </a:cubicBezTo>
                  <a:cubicBezTo>
                    <a:pt x="196" y="226"/>
                    <a:pt x="186" y="232"/>
                    <a:pt x="176" y="237"/>
                  </a:cubicBezTo>
                  <a:close/>
                  <a:moveTo>
                    <a:pt x="35" y="169"/>
                  </a:moveTo>
                  <a:cubicBezTo>
                    <a:pt x="34" y="174"/>
                    <a:pt x="34" y="174"/>
                    <a:pt x="34" y="174"/>
                  </a:cubicBezTo>
                  <a:cubicBezTo>
                    <a:pt x="36" y="80"/>
                    <a:pt x="36" y="80"/>
                    <a:pt x="36" y="80"/>
                  </a:cubicBezTo>
                  <a:cubicBezTo>
                    <a:pt x="30" y="80"/>
                    <a:pt x="30" y="80"/>
                    <a:pt x="30" y="80"/>
                  </a:cubicBezTo>
                  <a:cubicBezTo>
                    <a:pt x="21" y="131"/>
                    <a:pt x="21" y="131"/>
                    <a:pt x="21" y="131"/>
                  </a:cubicBezTo>
                  <a:cubicBezTo>
                    <a:pt x="20" y="136"/>
                    <a:pt x="16" y="140"/>
                    <a:pt x="11" y="140"/>
                  </a:cubicBezTo>
                  <a:cubicBezTo>
                    <a:pt x="11" y="140"/>
                    <a:pt x="10" y="140"/>
                    <a:pt x="9" y="140"/>
                  </a:cubicBezTo>
                  <a:cubicBezTo>
                    <a:pt x="4" y="139"/>
                    <a:pt x="0" y="133"/>
                    <a:pt x="1" y="128"/>
                  </a:cubicBezTo>
                  <a:cubicBezTo>
                    <a:pt x="12" y="61"/>
                    <a:pt x="12" y="61"/>
                    <a:pt x="12" y="61"/>
                  </a:cubicBezTo>
                  <a:cubicBezTo>
                    <a:pt x="12" y="60"/>
                    <a:pt x="12" y="60"/>
                    <a:pt x="12" y="60"/>
                  </a:cubicBezTo>
                  <a:cubicBezTo>
                    <a:pt x="15" y="52"/>
                    <a:pt x="23" y="47"/>
                    <a:pt x="31" y="47"/>
                  </a:cubicBezTo>
                  <a:cubicBezTo>
                    <a:pt x="49" y="47"/>
                    <a:pt x="49" y="47"/>
                    <a:pt x="49" y="47"/>
                  </a:cubicBezTo>
                  <a:cubicBezTo>
                    <a:pt x="62" y="69"/>
                    <a:pt x="62" y="69"/>
                    <a:pt x="62" y="69"/>
                  </a:cubicBezTo>
                  <a:cubicBezTo>
                    <a:pt x="76" y="47"/>
                    <a:pt x="76" y="47"/>
                    <a:pt x="76" y="47"/>
                  </a:cubicBezTo>
                  <a:cubicBezTo>
                    <a:pt x="94" y="47"/>
                    <a:pt x="94" y="47"/>
                    <a:pt x="94" y="47"/>
                  </a:cubicBezTo>
                  <a:cubicBezTo>
                    <a:pt x="103" y="47"/>
                    <a:pt x="110" y="52"/>
                    <a:pt x="113" y="60"/>
                  </a:cubicBezTo>
                  <a:cubicBezTo>
                    <a:pt x="113" y="61"/>
                    <a:pt x="113" y="61"/>
                    <a:pt x="113" y="61"/>
                  </a:cubicBezTo>
                  <a:cubicBezTo>
                    <a:pt x="114" y="67"/>
                    <a:pt x="114" y="67"/>
                    <a:pt x="114" y="67"/>
                  </a:cubicBezTo>
                  <a:cubicBezTo>
                    <a:pt x="105" y="69"/>
                    <a:pt x="97" y="73"/>
                    <a:pt x="91" y="80"/>
                  </a:cubicBezTo>
                  <a:cubicBezTo>
                    <a:pt x="90" y="80"/>
                    <a:pt x="90" y="80"/>
                    <a:pt x="90" y="80"/>
                  </a:cubicBezTo>
                  <a:cubicBezTo>
                    <a:pt x="90" y="81"/>
                    <a:pt x="90" y="81"/>
                    <a:pt x="90" y="81"/>
                  </a:cubicBezTo>
                  <a:cubicBezTo>
                    <a:pt x="83" y="88"/>
                    <a:pt x="79" y="99"/>
                    <a:pt x="79" y="110"/>
                  </a:cubicBezTo>
                  <a:cubicBezTo>
                    <a:pt x="79" y="120"/>
                    <a:pt x="82" y="129"/>
                    <a:pt x="87" y="137"/>
                  </a:cubicBezTo>
                  <a:cubicBezTo>
                    <a:pt x="77" y="137"/>
                    <a:pt x="77" y="137"/>
                    <a:pt x="77" y="137"/>
                  </a:cubicBezTo>
                  <a:cubicBezTo>
                    <a:pt x="58" y="137"/>
                    <a:pt x="41" y="148"/>
                    <a:pt x="36" y="165"/>
                  </a:cubicBezTo>
                  <a:cubicBezTo>
                    <a:pt x="36" y="166"/>
                    <a:pt x="35" y="167"/>
                    <a:pt x="35" y="169"/>
                  </a:cubicBezTo>
                  <a:close/>
                  <a:moveTo>
                    <a:pt x="62" y="0"/>
                  </a:moveTo>
                  <a:cubicBezTo>
                    <a:pt x="74" y="0"/>
                    <a:pt x="83" y="9"/>
                    <a:pt x="83" y="20"/>
                  </a:cubicBezTo>
                  <a:cubicBezTo>
                    <a:pt x="83" y="31"/>
                    <a:pt x="74" y="40"/>
                    <a:pt x="62" y="40"/>
                  </a:cubicBezTo>
                  <a:cubicBezTo>
                    <a:pt x="51" y="40"/>
                    <a:pt x="42" y="31"/>
                    <a:pt x="42" y="20"/>
                  </a:cubicBezTo>
                  <a:cubicBezTo>
                    <a:pt x="42" y="9"/>
                    <a:pt x="51" y="0"/>
                    <a:pt x="62" y="0"/>
                  </a:cubicBezTo>
                  <a:close/>
                  <a:moveTo>
                    <a:pt x="122" y="79"/>
                  </a:moveTo>
                  <a:cubicBezTo>
                    <a:pt x="140" y="79"/>
                    <a:pt x="154" y="93"/>
                    <a:pt x="154" y="110"/>
                  </a:cubicBezTo>
                  <a:cubicBezTo>
                    <a:pt x="154" y="127"/>
                    <a:pt x="140" y="141"/>
                    <a:pt x="122" y="141"/>
                  </a:cubicBezTo>
                  <a:cubicBezTo>
                    <a:pt x="105" y="141"/>
                    <a:pt x="91" y="127"/>
                    <a:pt x="91" y="110"/>
                  </a:cubicBezTo>
                  <a:cubicBezTo>
                    <a:pt x="91" y="93"/>
                    <a:pt x="105" y="79"/>
                    <a:pt x="122" y="79"/>
                  </a:cubicBezTo>
                  <a:close/>
                  <a:moveTo>
                    <a:pt x="182" y="0"/>
                  </a:moveTo>
                  <a:cubicBezTo>
                    <a:pt x="193" y="0"/>
                    <a:pt x="201" y="9"/>
                    <a:pt x="201" y="20"/>
                  </a:cubicBezTo>
                  <a:cubicBezTo>
                    <a:pt x="201" y="31"/>
                    <a:pt x="193" y="40"/>
                    <a:pt x="182" y="40"/>
                  </a:cubicBezTo>
                  <a:cubicBezTo>
                    <a:pt x="171" y="40"/>
                    <a:pt x="162" y="31"/>
                    <a:pt x="162" y="20"/>
                  </a:cubicBezTo>
                  <a:cubicBezTo>
                    <a:pt x="162" y="9"/>
                    <a:pt x="171" y="0"/>
                    <a:pt x="182" y="0"/>
                  </a:cubicBezTo>
                  <a:close/>
                </a:path>
              </a:pathLst>
            </a:custGeom>
            <a:solidFill>
              <a:schemeClr val="accent2"/>
            </a:solidFill>
            <a:ln w="9525">
              <a:noFill/>
              <a:round/>
              <a:headEnd/>
              <a:tailEnd/>
            </a:ln>
          </p:spPr>
          <p:txBody>
            <a:bodyPr vert="horz" wrap="square" lIns="100817" tIns="50408" rIns="100817" bIns="50408" numCol="1" anchor="t" anchorCtr="0" compatLnSpc="1">
              <a:prstTxWarp prst="textNoShape">
                <a:avLst/>
              </a:prstTxWarp>
            </a:bodyPr>
            <a:lstStyle/>
            <a:p>
              <a:endParaRPr lang="en-US" sz="2205" dirty="0">
                <a:latin typeface="Arial" panose="020B0604020202020204" pitchFamily="34" charset="0"/>
                <a:cs typeface="Arial" panose="020B0604020202020204" pitchFamily="34" charset="0"/>
                <a:sym typeface="Arial" panose="020B0604020202020204" pitchFamily="34" charset="0"/>
              </a:endParaRPr>
            </a:p>
          </p:txBody>
        </p:sp>
        <p:sp>
          <p:nvSpPr>
            <p:cNvPr id="195" name="TextBox 194">
              <a:extLst>
                <a:ext uri="{FF2B5EF4-FFF2-40B4-BE49-F238E27FC236}">
                  <a16:creationId xmlns:a16="http://schemas.microsoft.com/office/drawing/2014/main" id="{426B380D-8BE7-4C5A-BA5C-9B55884FD10E}"/>
                </a:ext>
              </a:extLst>
            </p:cNvPr>
            <p:cNvSpPr txBox="1"/>
            <p:nvPr/>
          </p:nvSpPr>
          <p:spPr>
            <a:xfrm>
              <a:off x="398611" y="4083756"/>
              <a:ext cx="642084" cy="128185"/>
            </a:xfrm>
            <a:prstGeom prst="rect">
              <a:avLst/>
            </a:prstGeom>
            <a:solidFill>
              <a:schemeClr val="bg1"/>
            </a:solidFill>
          </p:spPr>
          <p:txBody>
            <a:bodyPr wrap="square" lIns="0" tIns="0" rIns="0" bIns="0" rtlCol="0">
              <a:noAutofit/>
            </a:bodyPr>
            <a:lstStyle/>
            <a:p>
              <a:pPr defTabSz="456758" fontAlgn="base">
                <a:spcBef>
                  <a:spcPts val="1200"/>
                </a:spcBef>
              </a:pPr>
              <a:r>
                <a:rPr lang="en-US" sz="1200" dirty="0">
                  <a:solidFill>
                    <a:srgbClr val="064E69"/>
                  </a:solidFill>
                  <a:cs typeface="Open Sans Light"/>
                </a:rPr>
                <a:t>Nurses</a:t>
              </a:r>
            </a:p>
          </p:txBody>
        </p:sp>
      </p:grpSp>
      <p:grpSp>
        <p:nvGrpSpPr>
          <p:cNvPr id="220" name="Group 219">
            <a:extLst>
              <a:ext uri="{FF2B5EF4-FFF2-40B4-BE49-F238E27FC236}">
                <a16:creationId xmlns:a16="http://schemas.microsoft.com/office/drawing/2014/main" id="{FE19803F-7C60-47C0-B3A1-D103AEA5C2A3}"/>
              </a:ext>
            </a:extLst>
          </p:cNvPr>
          <p:cNvGrpSpPr/>
          <p:nvPr/>
        </p:nvGrpSpPr>
        <p:grpSpPr>
          <a:xfrm>
            <a:off x="9730827" y="3590635"/>
            <a:ext cx="874236" cy="512505"/>
            <a:chOff x="8908753" y="5767807"/>
            <a:chExt cx="874236" cy="512505"/>
          </a:xfrm>
        </p:grpSpPr>
        <p:sp>
          <p:nvSpPr>
            <p:cNvPr id="196" name="Freeform 24">
              <a:extLst>
                <a:ext uri="{FF2B5EF4-FFF2-40B4-BE49-F238E27FC236}">
                  <a16:creationId xmlns:a16="http://schemas.microsoft.com/office/drawing/2014/main" id="{AC68B8C4-05F2-40DC-AF91-8ADC72622120}"/>
                </a:ext>
              </a:extLst>
            </p:cNvPr>
            <p:cNvSpPr>
              <a:spLocks noEditPoints="1"/>
            </p:cNvSpPr>
            <p:nvPr/>
          </p:nvSpPr>
          <p:spPr bwMode="auto">
            <a:xfrm>
              <a:off x="9069022" y="5767807"/>
              <a:ext cx="448797" cy="294576"/>
            </a:xfrm>
            <a:custGeom>
              <a:avLst/>
              <a:gdLst/>
              <a:ahLst/>
              <a:cxnLst>
                <a:cxn ang="0">
                  <a:pos x="231" y="141"/>
                </a:cxn>
                <a:cxn ang="0">
                  <a:pos x="206" y="82"/>
                </a:cxn>
                <a:cxn ang="0">
                  <a:pos x="217" y="156"/>
                </a:cxn>
                <a:cxn ang="0">
                  <a:pos x="210" y="168"/>
                </a:cxn>
                <a:cxn ang="0">
                  <a:pos x="208" y="165"/>
                </a:cxn>
                <a:cxn ang="0">
                  <a:pos x="157" y="137"/>
                </a:cxn>
                <a:cxn ang="0">
                  <a:pos x="141" y="71"/>
                </a:cxn>
                <a:cxn ang="0">
                  <a:pos x="144" y="62"/>
                </a:cxn>
                <a:cxn ang="0">
                  <a:pos x="201" y="48"/>
                </a:cxn>
                <a:cxn ang="0">
                  <a:pos x="219" y="62"/>
                </a:cxn>
                <a:cxn ang="0">
                  <a:pos x="234" y="141"/>
                </a:cxn>
                <a:cxn ang="0">
                  <a:pos x="170" y="198"/>
                </a:cxn>
                <a:cxn ang="0">
                  <a:pos x="164" y="242"/>
                </a:cxn>
                <a:cxn ang="0">
                  <a:pos x="81" y="242"/>
                </a:cxn>
                <a:cxn ang="0">
                  <a:pos x="75" y="198"/>
                </a:cxn>
                <a:cxn ang="0">
                  <a:pos x="40" y="219"/>
                </a:cxn>
                <a:cxn ang="0">
                  <a:pos x="48" y="169"/>
                </a:cxn>
                <a:cxn ang="0">
                  <a:pos x="104" y="149"/>
                </a:cxn>
                <a:cxn ang="0">
                  <a:pos x="141" y="149"/>
                </a:cxn>
                <a:cxn ang="0">
                  <a:pos x="196" y="169"/>
                </a:cxn>
                <a:cxn ang="0">
                  <a:pos x="204" y="219"/>
                </a:cxn>
                <a:cxn ang="0">
                  <a:pos x="35" y="169"/>
                </a:cxn>
                <a:cxn ang="0">
                  <a:pos x="36" y="80"/>
                </a:cxn>
                <a:cxn ang="0">
                  <a:pos x="21" y="131"/>
                </a:cxn>
                <a:cxn ang="0">
                  <a:pos x="9" y="140"/>
                </a:cxn>
                <a:cxn ang="0">
                  <a:pos x="12" y="61"/>
                </a:cxn>
                <a:cxn ang="0">
                  <a:pos x="31" y="47"/>
                </a:cxn>
                <a:cxn ang="0">
                  <a:pos x="62" y="69"/>
                </a:cxn>
                <a:cxn ang="0">
                  <a:pos x="94" y="47"/>
                </a:cxn>
                <a:cxn ang="0">
                  <a:pos x="113" y="61"/>
                </a:cxn>
                <a:cxn ang="0">
                  <a:pos x="91" y="80"/>
                </a:cxn>
                <a:cxn ang="0">
                  <a:pos x="90" y="81"/>
                </a:cxn>
                <a:cxn ang="0">
                  <a:pos x="87" y="137"/>
                </a:cxn>
                <a:cxn ang="0">
                  <a:pos x="36" y="165"/>
                </a:cxn>
                <a:cxn ang="0">
                  <a:pos x="62" y="0"/>
                </a:cxn>
                <a:cxn ang="0">
                  <a:pos x="62" y="40"/>
                </a:cxn>
                <a:cxn ang="0">
                  <a:pos x="62" y="0"/>
                </a:cxn>
                <a:cxn ang="0">
                  <a:pos x="154" y="110"/>
                </a:cxn>
                <a:cxn ang="0">
                  <a:pos x="91" y="110"/>
                </a:cxn>
                <a:cxn ang="0">
                  <a:pos x="182" y="0"/>
                </a:cxn>
                <a:cxn ang="0">
                  <a:pos x="182" y="40"/>
                </a:cxn>
                <a:cxn ang="0">
                  <a:pos x="182" y="0"/>
                </a:cxn>
              </a:cxnLst>
              <a:rect l="0" t="0" r="r" b="b"/>
              <a:pathLst>
                <a:path w="241" h="248">
                  <a:moveTo>
                    <a:pt x="234" y="141"/>
                  </a:moveTo>
                  <a:cubicBezTo>
                    <a:pt x="233" y="141"/>
                    <a:pt x="232" y="141"/>
                    <a:pt x="231" y="141"/>
                  </a:cubicBezTo>
                  <a:cubicBezTo>
                    <a:pt x="227" y="141"/>
                    <a:pt x="223" y="139"/>
                    <a:pt x="222" y="134"/>
                  </a:cubicBezTo>
                  <a:cubicBezTo>
                    <a:pt x="206" y="82"/>
                    <a:pt x="206" y="82"/>
                    <a:pt x="206" y="82"/>
                  </a:cubicBezTo>
                  <a:cubicBezTo>
                    <a:pt x="198" y="82"/>
                    <a:pt x="198" y="82"/>
                    <a:pt x="198" y="82"/>
                  </a:cubicBezTo>
                  <a:cubicBezTo>
                    <a:pt x="217" y="156"/>
                    <a:pt x="217" y="156"/>
                    <a:pt x="217" y="156"/>
                  </a:cubicBezTo>
                  <a:cubicBezTo>
                    <a:pt x="218" y="157"/>
                    <a:pt x="218" y="158"/>
                    <a:pt x="218" y="160"/>
                  </a:cubicBezTo>
                  <a:cubicBezTo>
                    <a:pt x="218" y="164"/>
                    <a:pt x="214" y="168"/>
                    <a:pt x="210" y="168"/>
                  </a:cubicBezTo>
                  <a:cubicBezTo>
                    <a:pt x="209" y="168"/>
                    <a:pt x="209" y="168"/>
                    <a:pt x="209" y="168"/>
                  </a:cubicBezTo>
                  <a:cubicBezTo>
                    <a:pt x="208" y="167"/>
                    <a:pt x="208" y="166"/>
                    <a:pt x="208" y="165"/>
                  </a:cubicBezTo>
                  <a:cubicBezTo>
                    <a:pt x="203" y="148"/>
                    <a:pt x="186" y="137"/>
                    <a:pt x="168" y="137"/>
                  </a:cubicBezTo>
                  <a:cubicBezTo>
                    <a:pt x="157" y="137"/>
                    <a:pt x="157" y="137"/>
                    <a:pt x="157" y="137"/>
                  </a:cubicBezTo>
                  <a:cubicBezTo>
                    <a:pt x="163" y="129"/>
                    <a:pt x="166" y="120"/>
                    <a:pt x="166" y="110"/>
                  </a:cubicBezTo>
                  <a:cubicBezTo>
                    <a:pt x="166" y="93"/>
                    <a:pt x="156" y="78"/>
                    <a:pt x="141" y="71"/>
                  </a:cubicBezTo>
                  <a:cubicBezTo>
                    <a:pt x="144" y="62"/>
                    <a:pt x="144" y="62"/>
                    <a:pt x="144" y="62"/>
                  </a:cubicBezTo>
                  <a:cubicBezTo>
                    <a:pt x="144" y="62"/>
                    <a:pt x="144" y="62"/>
                    <a:pt x="144" y="62"/>
                  </a:cubicBezTo>
                  <a:cubicBezTo>
                    <a:pt x="147" y="53"/>
                    <a:pt x="154" y="48"/>
                    <a:pt x="162" y="48"/>
                  </a:cubicBezTo>
                  <a:cubicBezTo>
                    <a:pt x="201" y="48"/>
                    <a:pt x="201" y="48"/>
                    <a:pt x="201" y="48"/>
                  </a:cubicBezTo>
                  <a:cubicBezTo>
                    <a:pt x="209" y="48"/>
                    <a:pt x="216" y="53"/>
                    <a:pt x="219" y="62"/>
                  </a:cubicBezTo>
                  <a:cubicBezTo>
                    <a:pt x="219" y="62"/>
                    <a:pt x="219" y="62"/>
                    <a:pt x="219" y="62"/>
                  </a:cubicBezTo>
                  <a:cubicBezTo>
                    <a:pt x="240" y="129"/>
                    <a:pt x="240" y="129"/>
                    <a:pt x="240" y="129"/>
                  </a:cubicBezTo>
                  <a:cubicBezTo>
                    <a:pt x="241" y="134"/>
                    <a:pt x="238" y="139"/>
                    <a:pt x="234" y="141"/>
                  </a:cubicBezTo>
                  <a:close/>
                  <a:moveTo>
                    <a:pt x="176" y="237"/>
                  </a:moveTo>
                  <a:cubicBezTo>
                    <a:pt x="170" y="198"/>
                    <a:pt x="170" y="198"/>
                    <a:pt x="170" y="198"/>
                  </a:cubicBezTo>
                  <a:cubicBezTo>
                    <a:pt x="162" y="198"/>
                    <a:pt x="162" y="198"/>
                    <a:pt x="162" y="198"/>
                  </a:cubicBezTo>
                  <a:cubicBezTo>
                    <a:pt x="164" y="242"/>
                    <a:pt x="164" y="242"/>
                    <a:pt x="164" y="242"/>
                  </a:cubicBezTo>
                  <a:cubicBezTo>
                    <a:pt x="151" y="246"/>
                    <a:pt x="137" y="248"/>
                    <a:pt x="122" y="248"/>
                  </a:cubicBezTo>
                  <a:cubicBezTo>
                    <a:pt x="108" y="248"/>
                    <a:pt x="94" y="246"/>
                    <a:pt x="81" y="242"/>
                  </a:cubicBezTo>
                  <a:cubicBezTo>
                    <a:pt x="83" y="198"/>
                    <a:pt x="83" y="198"/>
                    <a:pt x="83" y="198"/>
                  </a:cubicBezTo>
                  <a:cubicBezTo>
                    <a:pt x="75" y="198"/>
                    <a:pt x="75" y="198"/>
                    <a:pt x="75" y="198"/>
                  </a:cubicBezTo>
                  <a:cubicBezTo>
                    <a:pt x="67" y="237"/>
                    <a:pt x="67" y="237"/>
                    <a:pt x="67" y="237"/>
                  </a:cubicBezTo>
                  <a:cubicBezTo>
                    <a:pt x="57" y="232"/>
                    <a:pt x="48" y="226"/>
                    <a:pt x="40" y="219"/>
                  </a:cubicBezTo>
                  <a:cubicBezTo>
                    <a:pt x="48" y="171"/>
                    <a:pt x="48" y="171"/>
                    <a:pt x="48" y="171"/>
                  </a:cubicBezTo>
                  <a:cubicBezTo>
                    <a:pt x="48" y="170"/>
                    <a:pt x="48" y="169"/>
                    <a:pt x="48" y="169"/>
                  </a:cubicBezTo>
                  <a:cubicBezTo>
                    <a:pt x="52" y="157"/>
                    <a:pt x="63" y="149"/>
                    <a:pt x="77" y="149"/>
                  </a:cubicBezTo>
                  <a:cubicBezTo>
                    <a:pt x="104" y="149"/>
                    <a:pt x="104" y="149"/>
                    <a:pt x="104" y="149"/>
                  </a:cubicBezTo>
                  <a:cubicBezTo>
                    <a:pt x="123" y="182"/>
                    <a:pt x="123" y="182"/>
                    <a:pt x="123" y="182"/>
                  </a:cubicBezTo>
                  <a:cubicBezTo>
                    <a:pt x="141" y="149"/>
                    <a:pt x="141" y="149"/>
                    <a:pt x="141" y="149"/>
                  </a:cubicBezTo>
                  <a:cubicBezTo>
                    <a:pt x="168" y="149"/>
                    <a:pt x="168" y="149"/>
                    <a:pt x="168" y="149"/>
                  </a:cubicBezTo>
                  <a:cubicBezTo>
                    <a:pt x="181" y="149"/>
                    <a:pt x="192" y="157"/>
                    <a:pt x="196" y="169"/>
                  </a:cubicBezTo>
                  <a:cubicBezTo>
                    <a:pt x="196" y="169"/>
                    <a:pt x="196" y="170"/>
                    <a:pt x="196" y="171"/>
                  </a:cubicBezTo>
                  <a:cubicBezTo>
                    <a:pt x="204" y="219"/>
                    <a:pt x="204" y="219"/>
                    <a:pt x="204" y="219"/>
                  </a:cubicBezTo>
                  <a:cubicBezTo>
                    <a:pt x="196" y="226"/>
                    <a:pt x="186" y="232"/>
                    <a:pt x="176" y="237"/>
                  </a:cubicBezTo>
                  <a:close/>
                  <a:moveTo>
                    <a:pt x="35" y="169"/>
                  </a:moveTo>
                  <a:cubicBezTo>
                    <a:pt x="34" y="174"/>
                    <a:pt x="34" y="174"/>
                    <a:pt x="34" y="174"/>
                  </a:cubicBezTo>
                  <a:cubicBezTo>
                    <a:pt x="36" y="80"/>
                    <a:pt x="36" y="80"/>
                    <a:pt x="36" y="80"/>
                  </a:cubicBezTo>
                  <a:cubicBezTo>
                    <a:pt x="30" y="80"/>
                    <a:pt x="30" y="80"/>
                    <a:pt x="30" y="80"/>
                  </a:cubicBezTo>
                  <a:cubicBezTo>
                    <a:pt x="21" y="131"/>
                    <a:pt x="21" y="131"/>
                    <a:pt x="21" y="131"/>
                  </a:cubicBezTo>
                  <a:cubicBezTo>
                    <a:pt x="20" y="136"/>
                    <a:pt x="16" y="140"/>
                    <a:pt x="11" y="140"/>
                  </a:cubicBezTo>
                  <a:cubicBezTo>
                    <a:pt x="11" y="140"/>
                    <a:pt x="10" y="140"/>
                    <a:pt x="9" y="140"/>
                  </a:cubicBezTo>
                  <a:cubicBezTo>
                    <a:pt x="4" y="139"/>
                    <a:pt x="0" y="133"/>
                    <a:pt x="1" y="128"/>
                  </a:cubicBezTo>
                  <a:cubicBezTo>
                    <a:pt x="12" y="61"/>
                    <a:pt x="12" y="61"/>
                    <a:pt x="12" y="61"/>
                  </a:cubicBezTo>
                  <a:cubicBezTo>
                    <a:pt x="12" y="60"/>
                    <a:pt x="12" y="60"/>
                    <a:pt x="12" y="60"/>
                  </a:cubicBezTo>
                  <a:cubicBezTo>
                    <a:pt x="15" y="52"/>
                    <a:pt x="23" y="47"/>
                    <a:pt x="31" y="47"/>
                  </a:cubicBezTo>
                  <a:cubicBezTo>
                    <a:pt x="49" y="47"/>
                    <a:pt x="49" y="47"/>
                    <a:pt x="49" y="47"/>
                  </a:cubicBezTo>
                  <a:cubicBezTo>
                    <a:pt x="62" y="69"/>
                    <a:pt x="62" y="69"/>
                    <a:pt x="62" y="69"/>
                  </a:cubicBezTo>
                  <a:cubicBezTo>
                    <a:pt x="76" y="47"/>
                    <a:pt x="76" y="47"/>
                    <a:pt x="76" y="47"/>
                  </a:cubicBezTo>
                  <a:cubicBezTo>
                    <a:pt x="94" y="47"/>
                    <a:pt x="94" y="47"/>
                    <a:pt x="94" y="47"/>
                  </a:cubicBezTo>
                  <a:cubicBezTo>
                    <a:pt x="103" y="47"/>
                    <a:pt x="110" y="52"/>
                    <a:pt x="113" y="60"/>
                  </a:cubicBezTo>
                  <a:cubicBezTo>
                    <a:pt x="113" y="61"/>
                    <a:pt x="113" y="61"/>
                    <a:pt x="113" y="61"/>
                  </a:cubicBezTo>
                  <a:cubicBezTo>
                    <a:pt x="114" y="67"/>
                    <a:pt x="114" y="67"/>
                    <a:pt x="114" y="67"/>
                  </a:cubicBezTo>
                  <a:cubicBezTo>
                    <a:pt x="105" y="69"/>
                    <a:pt x="97" y="73"/>
                    <a:pt x="91" y="80"/>
                  </a:cubicBezTo>
                  <a:cubicBezTo>
                    <a:pt x="90" y="80"/>
                    <a:pt x="90" y="80"/>
                    <a:pt x="90" y="80"/>
                  </a:cubicBezTo>
                  <a:cubicBezTo>
                    <a:pt x="90" y="81"/>
                    <a:pt x="90" y="81"/>
                    <a:pt x="90" y="81"/>
                  </a:cubicBezTo>
                  <a:cubicBezTo>
                    <a:pt x="83" y="88"/>
                    <a:pt x="79" y="99"/>
                    <a:pt x="79" y="110"/>
                  </a:cubicBezTo>
                  <a:cubicBezTo>
                    <a:pt x="79" y="120"/>
                    <a:pt x="82" y="129"/>
                    <a:pt x="87" y="137"/>
                  </a:cubicBezTo>
                  <a:cubicBezTo>
                    <a:pt x="77" y="137"/>
                    <a:pt x="77" y="137"/>
                    <a:pt x="77" y="137"/>
                  </a:cubicBezTo>
                  <a:cubicBezTo>
                    <a:pt x="58" y="137"/>
                    <a:pt x="41" y="148"/>
                    <a:pt x="36" y="165"/>
                  </a:cubicBezTo>
                  <a:cubicBezTo>
                    <a:pt x="36" y="166"/>
                    <a:pt x="35" y="167"/>
                    <a:pt x="35" y="169"/>
                  </a:cubicBezTo>
                  <a:close/>
                  <a:moveTo>
                    <a:pt x="62" y="0"/>
                  </a:moveTo>
                  <a:cubicBezTo>
                    <a:pt x="74" y="0"/>
                    <a:pt x="83" y="9"/>
                    <a:pt x="83" y="20"/>
                  </a:cubicBezTo>
                  <a:cubicBezTo>
                    <a:pt x="83" y="31"/>
                    <a:pt x="74" y="40"/>
                    <a:pt x="62" y="40"/>
                  </a:cubicBezTo>
                  <a:cubicBezTo>
                    <a:pt x="51" y="40"/>
                    <a:pt x="42" y="31"/>
                    <a:pt x="42" y="20"/>
                  </a:cubicBezTo>
                  <a:cubicBezTo>
                    <a:pt x="42" y="9"/>
                    <a:pt x="51" y="0"/>
                    <a:pt x="62" y="0"/>
                  </a:cubicBezTo>
                  <a:close/>
                  <a:moveTo>
                    <a:pt x="122" y="79"/>
                  </a:moveTo>
                  <a:cubicBezTo>
                    <a:pt x="140" y="79"/>
                    <a:pt x="154" y="93"/>
                    <a:pt x="154" y="110"/>
                  </a:cubicBezTo>
                  <a:cubicBezTo>
                    <a:pt x="154" y="127"/>
                    <a:pt x="140" y="141"/>
                    <a:pt x="122" y="141"/>
                  </a:cubicBezTo>
                  <a:cubicBezTo>
                    <a:pt x="105" y="141"/>
                    <a:pt x="91" y="127"/>
                    <a:pt x="91" y="110"/>
                  </a:cubicBezTo>
                  <a:cubicBezTo>
                    <a:pt x="91" y="93"/>
                    <a:pt x="105" y="79"/>
                    <a:pt x="122" y="79"/>
                  </a:cubicBezTo>
                  <a:close/>
                  <a:moveTo>
                    <a:pt x="182" y="0"/>
                  </a:moveTo>
                  <a:cubicBezTo>
                    <a:pt x="193" y="0"/>
                    <a:pt x="201" y="9"/>
                    <a:pt x="201" y="20"/>
                  </a:cubicBezTo>
                  <a:cubicBezTo>
                    <a:pt x="201" y="31"/>
                    <a:pt x="193" y="40"/>
                    <a:pt x="182" y="40"/>
                  </a:cubicBezTo>
                  <a:cubicBezTo>
                    <a:pt x="171" y="40"/>
                    <a:pt x="162" y="31"/>
                    <a:pt x="162" y="20"/>
                  </a:cubicBezTo>
                  <a:cubicBezTo>
                    <a:pt x="162" y="9"/>
                    <a:pt x="171" y="0"/>
                    <a:pt x="182" y="0"/>
                  </a:cubicBezTo>
                  <a:close/>
                </a:path>
              </a:pathLst>
            </a:custGeom>
            <a:solidFill>
              <a:schemeClr val="accent2"/>
            </a:solidFill>
            <a:ln w="9525">
              <a:noFill/>
              <a:round/>
              <a:headEnd/>
              <a:tailEnd/>
            </a:ln>
          </p:spPr>
          <p:txBody>
            <a:bodyPr vert="horz" wrap="square" lIns="100817" tIns="50408" rIns="100817" bIns="50408" numCol="1" anchor="t" anchorCtr="0" compatLnSpc="1">
              <a:prstTxWarp prst="textNoShape">
                <a:avLst/>
              </a:prstTxWarp>
            </a:bodyPr>
            <a:lstStyle/>
            <a:p>
              <a:endParaRPr lang="en-US" sz="2205" dirty="0">
                <a:latin typeface="Arial" panose="020B0604020202020204" pitchFamily="34" charset="0"/>
                <a:cs typeface="Arial" panose="020B0604020202020204" pitchFamily="34" charset="0"/>
                <a:sym typeface="Arial" panose="020B0604020202020204" pitchFamily="34" charset="0"/>
              </a:endParaRPr>
            </a:p>
          </p:txBody>
        </p:sp>
        <p:sp>
          <p:nvSpPr>
            <p:cNvPr id="197" name="TextBox 196">
              <a:extLst>
                <a:ext uri="{FF2B5EF4-FFF2-40B4-BE49-F238E27FC236}">
                  <a16:creationId xmlns:a16="http://schemas.microsoft.com/office/drawing/2014/main" id="{C1CC9232-EA75-4F5B-B772-5ACB1ACE71B8}"/>
                </a:ext>
              </a:extLst>
            </p:cNvPr>
            <p:cNvSpPr txBox="1"/>
            <p:nvPr/>
          </p:nvSpPr>
          <p:spPr>
            <a:xfrm>
              <a:off x="8908753" y="6103329"/>
              <a:ext cx="874236" cy="176983"/>
            </a:xfrm>
            <a:prstGeom prst="rect">
              <a:avLst/>
            </a:prstGeom>
            <a:solidFill>
              <a:schemeClr val="bg1"/>
            </a:solidFill>
          </p:spPr>
          <p:txBody>
            <a:bodyPr wrap="square" lIns="0" tIns="0" rIns="0" bIns="0" rtlCol="0">
              <a:noAutofit/>
            </a:bodyPr>
            <a:lstStyle/>
            <a:p>
              <a:pPr defTabSz="456758" fontAlgn="base">
                <a:spcBef>
                  <a:spcPts val="1200"/>
                </a:spcBef>
              </a:pPr>
              <a:r>
                <a:rPr lang="en-US" sz="1200" dirty="0">
                  <a:solidFill>
                    <a:srgbClr val="064E69"/>
                  </a:solidFill>
                  <a:cs typeface="Open Sans Light"/>
                </a:rPr>
                <a:t>Pharmacists</a:t>
              </a:r>
            </a:p>
          </p:txBody>
        </p:sp>
      </p:grpSp>
      <p:grpSp>
        <p:nvGrpSpPr>
          <p:cNvPr id="219" name="Group 218">
            <a:extLst>
              <a:ext uri="{FF2B5EF4-FFF2-40B4-BE49-F238E27FC236}">
                <a16:creationId xmlns:a16="http://schemas.microsoft.com/office/drawing/2014/main" id="{69499485-9774-4263-9646-B251AC59A3BE}"/>
              </a:ext>
            </a:extLst>
          </p:cNvPr>
          <p:cNvGrpSpPr/>
          <p:nvPr/>
        </p:nvGrpSpPr>
        <p:grpSpPr>
          <a:xfrm>
            <a:off x="8693126" y="3623345"/>
            <a:ext cx="754251" cy="527989"/>
            <a:chOff x="7230752" y="5728178"/>
            <a:chExt cx="754251" cy="527989"/>
          </a:xfrm>
        </p:grpSpPr>
        <p:sp>
          <p:nvSpPr>
            <p:cNvPr id="198" name="Freeform 24">
              <a:extLst>
                <a:ext uri="{FF2B5EF4-FFF2-40B4-BE49-F238E27FC236}">
                  <a16:creationId xmlns:a16="http://schemas.microsoft.com/office/drawing/2014/main" id="{763D6E04-50BD-4E90-A2A9-7364051C1279}"/>
                </a:ext>
              </a:extLst>
            </p:cNvPr>
            <p:cNvSpPr>
              <a:spLocks noEditPoints="1"/>
            </p:cNvSpPr>
            <p:nvPr/>
          </p:nvSpPr>
          <p:spPr bwMode="auto">
            <a:xfrm>
              <a:off x="7391021" y="5728178"/>
              <a:ext cx="448797" cy="294576"/>
            </a:xfrm>
            <a:custGeom>
              <a:avLst/>
              <a:gdLst/>
              <a:ahLst/>
              <a:cxnLst>
                <a:cxn ang="0">
                  <a:pos x="231" y="141"/>
                </a:cxn>
                <a:cxn ang="0">
                  <a:pos x="206" y="82"/>
                </a:cxn>
                <a:cxn ang="0">
                  <a:pos x="217" y="156"/>
                </a:cxn>
                <a:cxn ang="0">
                  <a:pos x="210" y="168"/>
                </a:cxn>
                <a:cxn ang="0">
                  <a:pos x="208" y="165"/>
                </a:cxn>
                <a:cxn ang="0">
                  <a:pos x="157" y="137"/>
                </a:cxn>
                <a:cxn ang="0">
                  <a:pos x="141" y="71"/>
                </a:cxn>
                <a:cxn ang="0">
                  <a:pos x="144" y="62"/>
                </a:cxn>
                <a:cxn ang="0">
                  <a:pos x="201" y="48"/>
                </a:cxn>
                <a:cxn ang="0">
                  <a:pos x="219" y="62"/>
                </a:cxn>
                <a:cxn ang="0">
                  <a:pos x="234" y="141"/>
                </a:cxn>
                <a:cxn ang="0">
                  <a:pos x="170" y="198"/>
                </a:cxn>
                <a:cxn ang="0">
                  <a:pos x="164" y="242"/>
                </a:cxn>
                <a:cxn ang="0">
                  <a:pos x="81" y="242"/>
                </a:cxn>
                <a:cxn ang="0">
                  <a:pos x="75" y="198"/>
                </a:cxn>
                <a:cxn ang="0">
                  <a:pos x="40" y="219"/>
                </a:cxn>
                <a:cxn ang="0">
                  <a:pos x="48" y="169"/>
                </a:cxn>
                <a:cxn ang="0">
                  <a:pos x="104" y="149"/>
                </a:cxn>
                <a:cxn ang="0">
                  <a:pos x="141" y="149"/>
                </a:cxn>
                <a:cxn ang="0">
                  <a:pos x="196" y="169"/>
                </a:cxn>
                <a:cxn ang="0">
                  <a:pos x="204" y="219"/>
                </a:cxn>
                <a:cxn ang="0">
                  <a:pos x="35" y="169"/>
                </a:cxn>
                <a:cxn ang="0">
                  <a:pos x="36" y="80"/>
                </a:cxn>
                <a:cxn ang="0">
                  <a:pos x="21" y="131"/>
                </a:cxn>
                <a:cxn ang="0">
                  <a:pos x="9" y="140"/>
                </a:cxn>
                <a:cxn ang="0">
                  <a:pos x="12" y="61"/>
                </a:cxn>
                <a:cxn ang="0">
                  <a:pos x="31" y="47"/>
                </a:cxn>
                <a:cxn ang="0">
                  <a:pos x="62" y="69"/>
                </a:cxn>
                <a:cxn ang="0">
                  <a:pos x="94" y="47"/>
                </a:cxn>
                <a:cxn ang="0">
                  <a:pos x="113" y="61"/>
                </a:cxn>
                <a:cxn ang="0">
                  <a:pos x="91" y="80"/>
                </a:cxn>
                <a:cxn ang="0">
                  <a:pos x="90" y="81"/>
                </a:cxn>
                <a:cxn ang="0">
                  <a:pos x="87" y="137"/>
                </a:cxn>
                <a:cxn ang="0">
                  <a:pos x="36" y="165"/>
                </a:cxn>
                <a:cxn ang="0">
                  <a:pos x="62" y="0"/>
                </a:cxn>
                <a:cxn ang="0">
                  <a:pos x="62" y="40"/>
                </a:cxn>
                <a:cxn ang="0">
                  <a:pos x="62" y="0"/>
                </a:cxn>
                <a:cxn ang="0">
                  <a:pos x="154" y="110"/>
                </a:cxn>
                <a:cxn ang="0">
                  <a:pos x="91" y="110"/>
                </a:cxn>
                <a:cxn ang="0">
                  <a:pos x="182" y="0"/>
                </a:cxn>
                <a:cxn ang="0">
                  <a:pos x="182" y="40"/>
                </a:cxn>
                <a:cxn ang="0">
                  <a:pos x="182" y="0"/>
                </a:cxn>
              </a:cxnLst>
              <a:rect l="0" t="0" r="r" b="b"/>
              <a:pathLst>
                <a:path w="241" h="248">
                  <a:moveTo>
                    <a:pt x="234" y="141"/>
                  </a:moveTo>
                  <a:cubicBezTo>
                    <a:pt x="233" y="141"/>
                    <a:pt x="232" y="141"/>
                    <a:pt x="231" y="141"/>
                  </a:cubicBezTo>
                  <a:cubicBezTo>
                    <a:pt x="227" y="141"/>
                    <a:pt x="223" y="139"/>
                    <a:pt x="222" y="134"/>
                  </a:cubicBezTo>
                  <a:cubicBezTo>
                    <a:pt x="206" y="82"/>
                    <a:pt x="206" y="82"/>
                    <a:pt x="206" y="82"/>
                  </a:cubicBezTo>
                  <a:cubicBezTo>
                    <a:pt x="198" y="82"/>
                    <a:pt x="198" y="82"/>
                    <a:pt x="198" y="82"/>
                  </a:cubicBezTo>
                  <a:cubicBezTo>
                    <a:pt x="217" y="156"/>
                    <a:pt x="217" y="156"/>
                    <a:pt x="217" y="156"/>
                  </a:cubicBezTo>
                  <a:cubicBezTo>
                    <a:pt x="218" y="157"/>
                    <a:pt x="218" y="158"/>
                    <a:pt x="218" y="160"/>
                  </a:cubicBezTo>
                  <a:cubicBezTo>
                    <a:pt x="218" y="164"/>
                    <a:pt x="214" y="168"/>
                    <a:pt x="210" y="168"/>
                  </a:cubicBezTo>
                  <a:cubicBezTo>
                    <a:pt x="209" y="168"/>
                    <a:pt x="209" y="168"/>
                    <a:pt x="209" y="168"/>
                  </a:cubicBezTo>
                  <a:cubicBezTo>
                    <a:pt x="208" y="167"/>
                    <a:pt x="208" y="166"/>
                    <a:pt x="208" y="165"/>
                  </a:cubicBezTo>
                  <a:cubicBezTo>
                    <a:pt x="203" y="148"/>
                    <a:pt x="186" y="137"/>
                    <a:pt x="168" y="137"/>
                  </a:cubicBezTo>
                  <a:cubicBezTo>
                    <a:pt x="157" y="137"/>
                    <a:pt x="157" y="137"/>
                    <a:pt x="157" y="137"/>
                  </a:cubicBezTo>
                  <a:cubicBezTo>
                    <a:pt x="163" y="129"/>
                    <a:pt x="166" y="120"/>
                    <a:pt x="166" y="110"/>
                  </a:cubicBezTo>
                  <a:cubicBezTo>
                    <a:pt x="166" y="93"/>
                    <a:pt x="156" y="78"/>
                    <a:pt x="141" y="71"/>
                  </a:cubicBezTo>
                  <a:cubicBezTo>
                    <a:pt x="144" y="62"/>
                    <a:pt x="144" y="62"/>
                    <a:pt x="144" y="62"/>
                  </a:cubicBezTo>
                  <a:cubicBezTo>
                    <a:pt x="144" y="62"/>
                    <a:pt x="144" y="62"/>
                    <a:pt x="144" y="62"/>
                  </a:cubicBezTo>
                  <a:cubicBezTo>
                    <a:pt x="147" y="53"/>
                    <a:pt x="154" y="48"/>
                    <a:pt x="162" y="48"/>
                  </a:cubicBezTo>
                  <a:cubicBezTo>
                    <a:pt x="201" y="48"/>
                    <a:pt x="201" y="48"/>
                    <a:pt x="201" y="48"/>
                  </a:cubicBezTo>
                  <a:cubicBezTo>
                    <a:pt x="209" y="48"/>
                    <a:pt x="216" y="53"/>
                    <a:pt x="219" y="62"/>
                  </a:cubicBezTo>
                  <a:cubicBezTo>
                    <a:pt x="219" y="62"/>
                    <a:pt x="219" y="62"/>
                    <a:pt x="219" y="62"/>
                  </a:cubicBezTo>
                  <a:cubicBezTo>
                    <a:pt x="240" y="129"/>
                    <a:pt x="240" y="129"/>
                    <a:pt x="240" y="129"/>
                  </a:cubicBezTo>
                  <a:cubicBezTo>
                    <a:pt x="241" y="134"/>
                    <a:pt x="238" y="139"/>
                    <a:pt x="234" y="141"/>
                  </a:cubicBezTo>
                  <a:close/>
                  <a:moveTo>
                    <a:pt x="176" y="237"/>
                  </a:moveTo>
                  <a:cubicBezTo>
                    <a:pt x="170" y="198"/>
                    <a:pt x="170" y="198"/>
                    <a:pt x="170" y="198"/>
                  </a:cubicBezTo>
                  <a:cubicBezTo>
                    <a:pt x="162" y="198"/>
                    <a:pt x="162" y="198"/>
                    <a:pt x="162" y="198"/>
                  </a:cubicBezTo>
                  <a:cubicBezTo>
                    <a:pt x="164" y="242"/>
                    <a:pt x="164" y="242"/>
                    <a:pt x="164" y="242"/>
                  </a:cubicBezTo>
                  <a:cubicBezTo>
                    <a:pt x="151" y="246"/>
                    <a:pt x="137" y="248"/>
                    <a:pt x="122" y="248"/>
                  </a:cubicBezTo>
                  <a:cubicBezTo>
                    <a:pt x="108" y="248"/>
                    <a:pt x="94" y="246"/>
                    <a:pt x="81" y="242"/>
                  </a:cubicBezTo>
                  <a:cubicBezTo>
                    <a:pt x="83" y="198"/>
                    <a:pt x="83" y="198"/>
                    <a:pt x="83" y="198"/>
                  </a:cubicBezTo>
                  <a:cubicBezTo>
                    <a:pt x="75" y="198"/>
                    <a:pt x="75" y="198"/>
                    <a:pt x="75" y="198"/>
                  </a:cubicBezTo>
                  <a:cubicBezTo>
                    <a:pt x="67" y="237"/>
                    <a:pt x="67" y="237"/>
                    <a:pt x="67" y="237"/>
                  </a:cubicBezTo>
                  <a:cubicBezTo>
                    <a:pt x="57" y="232"/>
                    <a:pt x="48" y="226"/>
                    <a:pt x="40" y="219"/>
                  </a:cubicBezTo>
                  <a:cubicBezTo>
                    <a:pt x="48" y="171"/>
                    <a:pt x="48" y="171"/>
                    <a:pt x="48" y="171"/>
                  </a:cubicBezTo>
                  <a:cubicBezTo>
                    <a:pt x="48" y="170"/>
                    <a:pt x="48" y="169"/>
                    <a:pt x="48" y="169"/>
                  </a:cubicBezTo>
                  <a:cubicBezTo>
                    <a:pt x="52" y="157"/>
                    <a:pt x="63" y="149"/>
                    <a:pt x="77" y="149"/>
                  </a:cubicBezTo>
                  <a:cubicBezTo>
                    <a:pt x="104" y="149"/>
                    <a:pt x="104" y="149"/>
                    <a:pt x="104" y="149"/>
                  </a:cubicBezTo>
                  <a:cubicBezTo>
                    <a:pt x="123" y="182"/>
                    <a:pt x="123" y="182"/>
                    <a:pt x="123" y="182"/>
                  </a:cubicBezTo>
                  <a:cubicBezTo>
                    <a:pt x="141" y="149"/>
                    <a:pt x="141" y="149"/>
                    <a:pt x="141" y="149"/>
                  </a:cubicBezTo>
                  <a:cubicBezTo>
                    <a:pt x="168" y="149"/>
                    <a:pt x="168" y="149"/>
                    <a:pt x="168" y="149"/>
                  </a:cubicBezTo>
                  <a:cubicBezTo>
                    <a:pt x="181" y="149"/>
                    <a:pt x="192" y="157"/>
                    <a:pt x="196" y="169"/>
                  </a:cubicBezTo>
                  <a:cubicBezTo>
                    <a:pt x="196" y="169"/>
                    <a:pt x="196" y="170"/>
                    <a:pt x="196" y="171"/>
                  </a:cubicBezTo>
                  <a:cubicBezTo>
                    <a:pt x="204" y="219"/>
                    <a:pt x="204" y="219"/>
                    <a:pt x="204" y="219"/>
                  </a:cubicBezTo>
                  <a:cubicBezTo>
                    <a:pt x="196" y="226"/>
                    <a:pt x="186" y="232"/>
                    <a:pt x="176" y="237"/>
                  </a:cubicBezTo>
                  <a:close/>
                  <a:moveTo>
                    <a:pt x="35" y="169"/>
                  </a:moveTo>
                  <a:cubicBezTo>
                    <a:pt x="34" y="174"/>
                    <a:pt x="34" y="174"/>
                    <a:pt x="34" y="174"/>
                  </a:cubicBezTo>
                  <a:cubicBezTo>
                    <a:pt x="36" y="80"/>
                    <a:pt x="36" y="80"/>
                    <a:pt x="36" y="80"/>
                  </a:cubicBezTo>
                  <a:cubicBezTo>
                    <a:pt x="30" y="80"/>
                    <a:pt x="30" y="80"/>
                    <a:pt x="30" y="80"/>
                  </a:cubicBezTo>
                  <a:cubicBezTo>
                    <a:pt x="21" y="131"/>
                    <a:pt x="21" y="131"/>
                    <a:pt x="21" y="131"/>
                  </a:cubicBezTo>
                  <a:cubicBezTo>
                    <a:pt x="20" y="136"/>
                    <a:pt x="16" y="140"/>
                    <a:pt x="11" y="140"/>
                  </a:cubicBezTo>
                  <a:cubicBezTo>
                    <a:pt x="11" y="140"/>
                    <a:pt x="10" y="140"/>
                    <a:pt x="9" y="140"/>
                  </a:cubicBezTo>
                  <a:cubicBezTo>
                    <a:pt x="4" y="139"/>
                    <a:pt x="0" y="133"/>
                    <a:pt x="1" y="128"/>
                  </a:cubicBezTo>
                  <a:cubicBezTo>
                    <a:pt x="12" y="61"/>
                    <a:pt x="12" y="61"/>
                    <a:pt x="12" y="61"/>
                  </a:cubicBezTo>
                  <a:cubicBezTo>
                    <a:pt x="12" y="60"/>
                    <a:pt x="12" y="60"/>
                    <a:pt x="12" y="60"/>
                  </a:cubicBezTo>
                  <a:cubicBezTo>
                    <a:pt x="15" y="52"/>
                    <a:pt x="23" y="47"/>
                    <a:pt x="31" y="47"/>
                  </a:cubicBezTo>
                  <a:cubicBezTo>
                    <a:pt x="49" y="47"/>
                    <a:pt x="49" y="47"/>
                    <a:pt x="49" y="47"/>
                  </a:cubicBezTo>
                  <a:cubicBezTo>
                    <a:pt x="62" y="69"/>
                    <a:pt x="62" y="69"/>
                    <a:pt x="62" y="69"/>
                  </a:cubicBezTo>
                  <a:cubicBezTo>
                    <a:pt x="76" y="47"/>
                    <a:pt x="76" y="47"/>
                    <a:pt x="76" y="47"/>
                  </a:cubicBezTo>
                  <a:cubicBezTo>
                    <a:pt x="94" y="47"/>
                    <a:pt x="94" y="47"/>
                    <a:pt x="94" y="47"/>
                  </a:cubicBezTo>
                  <a:cubicBezTo>
                    <a:pt x="103" y="47"/>
                    <a:pt x="110" y="52"/>
                    <a:pt x="113" y="60"/>
                  </a:cubicBezTo>
                  <a:cubicBezTo>
                    <a:pt x="113" y="61"/>
                    <a:pt x="113" y="61"/>
                    <a:pt x="113" y="61"/>
                  </a:cubicBezTo>
                  <a:cubicBezTo>
                    <a:pt x="114" y="67"/>
                    <a:pt x="114" y="67"/>
                    <a:pt x="114" y="67"/>
                  </a:cubicBezTo>
                  <a:cubicBezTo>
                    <a:pt x="105" y="69"/>
                    <a:pt x="97" y="73"/>
                    <a:pt x="91" y="80"/>
                  </a:cubicBezTo>
                  <a:cubicBezTo>
                    <a:pt x="90" y="80"/>
                    <a:pt x="90" y="80"/>
                    <a:pt x="90" y="80"/>
                  </a:cubicBezTo>
                  <a:cubicBezTo>
                    <a:pt x="90" y="81"/>
                    <a:pt x="90" y="81"/>
                    <a:pt x="90" y="81"/>
                  </a:cubicBezTo>
                  <a:cubicBezTo>
                    <a:pt x="83" y="88"/>
                    <a:pt x="79" y="99"/>
                    <a:pt x="79" y="110"/>
                  </a:cubicBezTo>
                  <a:cubicBezTo>
                    <a:pt x="79" y="120"/>
                    <a:pt x="82" y="129"/>
                    <a:pt x="87" y="137"/>
                  </a:cubicBezTo>
                  <a:cubicBezTo>
                    <a:pt x="77" y="137"/>
                    <a:pt x="77" y="137"/>
                    <a:pt x="77" y="137"/>
                  </a:cubicBezTo>
                  <a:cubicBezTo>
                    <a:pt x="58" y="137"/>
                    <a:pt x="41" y="148"/>
                    <a:pt x="36" y="165"/>
                  </a:cubicBezTo>
                  <a:cubicBezTo>
                    <a:pt x="36" y="166"/>
                    <a:pt x="35" y="167"/>
                    <a:pt x="35" y="169"/>
                  </a:cubicBezTo>
                  <a:close/>
                  <a:moveTo>
                    <a:pt x="62" y="0"/>
                  </a:moveTo>
                  <a:cubicBezTo>
                    <a:pt x="74" y="0"/>
                    <a:pt x="83" y="9"/>
                    <a:pt x="83" y="20"/>
                  </a:cubicBezTo>
                  <a:cubicBezTo>
                    <a:pt x="83" y="31"/>
                    <a:pt x="74" y="40"/>
                    <a:pt x="62" y="40"/>
                  </a:cubicBezTo>
                  <a:cubicBezTo>
                    <a:pt x="51" y="40"/>
                    <a:pt x="42" y="31"/>
                    <a:pt x="42" y="20"/>
                  </a:cubicBezTo>
                  <a:cubicBezTo>
                    <a:pt x="42" y="9"/>
                    <a:pt x="51" y="0"/>
                    <a:pt x="62" y="0"/>
                  </a:cubicBezTo>
                  <a:close/>
                  <a:moveTo>
                    <a:pt x="122" y="79"/>
                  </a:moveTo>
                  <a:cubicBezTo>
                    <a:pt x="140" y="79"/>
                    <a:pt x="154" y="93"/>
                    <a:pt x="154" y="110"/>
                  </a:cubicBezTo>
                  <a:cubicBezTo>
                    <a:pt x="154" y="127"/>
                    <a:pt x="140" y="141"/>
                    <a:pt x="122" y="141"/>
                  </a:cubicBezTo>
                  <a:cubicBezTo>
                    <a:pt x="105" y="141"/>
                    <a:pt x="91" y="127"/>
                    <a:pt x="91" y="110"/>
                  </a:cubicBezTo>
                  <a:cubicBezTo>
                    <a:pt x="91" y="93"/>
                    <a:pt x="105" y="79"/>
                    <a:pt x="122" y="79"/>
                  </a:cubicBezTo>
                  <a:close/>
                  <a:moveTo>
                    <a:pt x="182" y="0"/>
                  </a:moveTo>
                  <a:cubicBezTo>
                    <a:pt x="193" y="0"/>
                    <a:pt x="201" y="9"/>
                    <a:pt x="201" y="20"/>
                  </a:cubicBezTo>
                  <a:cubicBezTo>
                    <a:pt x="201" y="31"/>
                    <a:pt x="193" y="40"/>
                    <a:pt x="182" y="40"/>
                  </a:cubicBezTo>
                  <a:cubicBezTo>
                    <a:pt x="171" y="40"/>
                    <a:pt x="162" y="31"/>
                    <a:pt x="162" y="20"/>
                  </a:cubicBezTo>
                  <a:cubicBezTo>
                    <a:pt x="162" y="9"/>
                    <a:pt x="171" y="0"/>
                    <a:pt x="182" y="0"/>
                  </a:cubicBezTo>
                  <a:close/>
                </a:path>
              </a:pathLst>
            </a:custGeom>
            <a:solidFill>
              <a:schemeClr val="accent2"/>
            </a:solidFill>
            <a:ln w="9525">
              <a:noFill/>
              <a:round/>
              <a:headEnd/>
              <a:tailEnd/>
            </a:ln>
          </p:spPr>
          <p:txBody>
            <a:bodyPr vert="horz" wrap="square" lIns="100817" tIns="50408" rIns="100817" bIns="50408" numCol="1" anchor="t" anchorCtr="0" compatLnSpc="1">
              <a:prstTxWarp prst="textNoShape">
                <a:avLst/>
              </a:prstTxWarp>
            </a:bodyPr>
            <a:lstStyle/>
            <a:p>
              <a:endParaRPr lang="en-US" sz="2205" dirty="0">
                <a:latin typeface="Arial" panose="020B0604020202020204" pitchFamily="34" charset="0"/>
                <a:cs typeface="Arial" panose="020B0604020202020204" pitchFamily="34" charset="0"/>
                <a:sym typeface="Arial" panose="020B0604020202020204" pitchFamily="34" charset="0"/>
              </a:endParaRPr>
            </a:p>
          </p:txBody>
        </p:sp>
        <p:sp>
          <p:nvSpPr>
            <p:cNvPr id="199" name="TextBox 198">
              <a:extLst>
                <a:ext uri="{FF2B5EF4-FFF2-40B4-BE49-F238E27FC236}">
                  <a16:creationId xmlns:a16="http://schemas.microsoft.com/office/drawing/2014/main" id="{D33012A0-20D2-48A4-848A-47C6D7EF7FEE}"/>
                </a:ext>
              </a:extLst>
            </p:cNvPr>
            <p:cNvSpPr txBox="1"/>
            <p:nvPr/>
          </p:nvSpPr>
          <p:spPr>
            <a:xfrm>
              <a:off x="7230752" y="6063700"/>
              <a:ext cx="754251" cy="192467"/>
            </a:xfrm>
            <a:prstGeom prst="rect">
              <a:avLst/>
            </a:prstGeom>
            <a:solidFill>
              <a:schemeClr val="bg1"/>
            </a:solidFill>
          </p:spPr>
          <p:txBody>
            <a:bodyPr wrap="square" lIns="0" tIns="0" rIns="0" bIns="0" rtlCol="0">
              <a:noAutofit/>
            </a:bodyPr>
            <a:lstStyle/>
            <a:p>
              <a:pPr defTabSz="456758" fontAlgn="base">
                <a:spcBef>
                  <a:spcPts val="1200"/>
                </a:spcBef>
              </a:pPr>
              <a:r>
                <a:rPr lang="en-US" sz="1200" dirty="0">
                  <a:solidFill>
                    <a:srgbClr val="064E69"/>
                  </a:solidFill>
                  <a:cs typeface="Open Sans Light"/>
                </a:rPr>
                <a:t>Physician Assistants  </a:t>
              </a:r>
            </a:p>
          </p:txBody>
        </p:sp>
      </p:grpSp>
      <p:sp>
        <p:nvSpPr>
          <p:cNvPr id="215" name="Rectangle 214">
            <a:extLst>
              <a:ext uri="{FF2B5EF4-FFF2-40B4-BE49-F238E27FC236}">
                <a16:creationId xmlns:a16="http://schemas.microsoft.com/office/drawing/2014/main" id="{79C4602F-8885-4A2D-9742-4ACC342FCCDF}"/>
              </a:ext>
            </a:extLst>
          </p:cNvPr>
          <p:cNvSpPr/>
          <p:nvPr/>
        </p:nvSpPr>
        <p:spPr>
          <a:xfrm>
            <a:off x="8463921" y="2554606"/>
            <a:ext cx="1155524" cy="2945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mj-lt"/>
                <a:cs typeface="Open Sans Bold"/>
              </a:rPr>
              <a:t>Min Clinic</a:t>
            </a:r>
          </a:p>
        </p:txBody>
      </p:sp>
      <p:cxnSp>
        <p:nvCxnSpPr>
          <p:cNvPr id="216" name="Straight Connector 215">
            <a:extLst>
              <a:ext uri="{FF2B5EF4-FFF2-40B4-BE49-F238E27FC236}">
                <a16:creationId xmlns:a16="http://schemas.microsoft.com/office/drawing/2014/main" id="{D1C529AA-9ECF-4D66-858E-B07C63E74EA0}"/>
              </a:ext>
            </a:extLst>
          </p:cNvPr>
          <p:cNvCxnSpPr>
            <a:cxnSpLocks/>
            <a:stCxn id="215" idx="2"/>
            <a:endCxn id="144" idx="0"/>
          </p:cNvCxnSpPr>
          <p:nvPr/>
        </p:nvCxnSpPr>
        <p:spPr>
          <a:xfrm>
            <a:off x="9041683" y="2849183"/>
            <a:ext cx="673481" cy="382102"/>
          </a:xfrm>
          <a:prstGeom prst="line">
            <a:avLst/>
          </a:prstGeom>
          <a:ln w="12700" cmpd="sng">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21" name="Group 220">
            <a:extLst>
              <a:ext uri="{FF2B5EF4-FFF2-40B4-BE49-F238E27FC236}">
                <a16:creationId xmlns:a16="http://schemas.microsoft.com/office/drawing/2014/main" id="{A0CAEFFD-93AF-4A6C-820E-A4AB1F292224}"/>
              </a:ext>
            </a:extLst>
          </p:cNvPr>
          <p:cNvGrpSpPr/>
          <p:nvPr/>
        </p:nvGrpSpPr>
        <p:grpSpPr>
          <a:xfrm>
            <a:off x="11188538" y="3581471"/>
            <a:ext cx="642084" cy="463708"/>
            <a:chOff x="398611" y="3748233"/>
            <a:chExt cx="642084" cy="463708"/>
          </a:xfrm>
        </p:grpSpPr>
        <p:sp>
          <p:nvSpPr>
            <p:cNvPr id="222" name="Freeform 24">
              <a:extLst>
                <a:ext uri="{FF2B5EF4-FFF2-40B4-BE49-F238E27FC236}">
                  <a16:creationId xmlns:a16="http://schemas.microsoft.com/office/drawing/2014/main" id="{D0FD8AC2-488A-4025-B406-4471930AB539}"/>
                </a:ext>
              </a:extLst>
            </p:cNvPr>
            <p:cNvSpPr>
              <a:spLocks noEditPoints="1"/>
            </p:cNvSpPr>
            <p:nvPr/>
          </p:nvSpPr>
          <p:spPr bwMode="auto">
            <a:xfrm>
              <a:off x="468348" y="3748233"/>
              <a:ext cx="448797" cy="294576"/>
            </a:xfrm>
            <a:custGeom>
              <a:avLst/>
              <a:gdLst/>
              <a:ahLst/>
              <a:cxnLst>
                <a:cxn ang="0">
                  <a:pos x="231" y="141"/>
                </a:cxn>
                <a:cxn ang="0">
                  <a:pos x="206" y="82"/>
                </a:cxn>
                <a:cxn ang="0">
                  <a:pos x="217" y="156"/>
                </a:cxn>
                <a:cxn ang="0">
                  <a:pos x="210" y="168"/>
                </a:cxn>
                <a:cxn ang="0">
                  <a:pos x="208" y="165"/>
                </a:cxn>
                <a:cxn ang="0">
                  <a:pos x="157" y="137"/>
                </a:cxn>
                <a:cxn ang="0">
                  <a:pos x="141" y="71"/>
                </a:cxn>
                <a:cxn ang="0">
                  <a:pos x="144" y="62"/>
                </a:cxn>
                <a:cxn ang="0">
                  <a:pos x="201" y="48"/>
                </a:cxn>
                <a:cxn ang="0">
                  <a:pos x="219" y="62"/>
                </a:cxn>
                <a:cxn ang="0">
                  <a:pos x="234" y="141"/>
                </a:cxn>
                <a:cxn ang="0">
                  <a:pos x="170" y="198"/>
                </a:cxn>
                <a:cxn ang="0">
                  <a:pos x="164" y="242"/>
                </a:cxn>
                <a:cxn ang="0">
                  <a:pos x="81" y="242"/>
                </a:cxn>
                <a:cxn ang="0">
                  <a:pos x="75" y="198"/>
                </a:cxn>
                <a:cxn ang="0">
                  <a:pos x="40" y="219"/>
                </a:cxn>
                <a:cxn ang="0">
                  <a:pos x="48" y="169"/>
                </a:cxn>
                <a:cxn ang="0">
                  <a:pos x="104" y="149"/>
                </a:cxn>
                <a:cxn ang="0">
                  <a:pos x="141" y="149"/>
                </a:cxn>
                <a:cxn ang="0">
                  <a:pos x="196" y="169"/>
                </a:cxn>
                <a:cxn ang="0">
                  <a:pos x="204" y="219"/>
                </a:cxn>
                <a:cxn ang="0">
                  <a:pos x="35" y="169"/>
                </a:cxn>
                <a:cxn ang="0">
                  <a:pos x="36" y="80"/>
                </a:cxn>
                <a:cxn ang="0">
                  <a:pos x="21" y="131"/>
                </a:cxn>
                <a:cxn ang="0">
                  <a:pos x="9" y="140"/>
                </a:cxn>
                <a:cxn ang="0">
                  <a:pos x="12" y="61"/>
                </a:cxn>
                <a:cxn ang="0">
                  <a:pos x="31" y="47"/>
                </a:cxn>
                <a:cxn ang="0">
                  <a:pos x="62" y="69"/>
                </a:cxn>
                <a:cxn ang="0">
                  <a:pos x="94" y="47"/>
                </a:cxn>
                <a:cxn ang="0">
                  <a:pos x="113" y="61"/>
                </a:cxn>
                <a:cxn ang="0">
                  <a:pos x="91" y="80"/>
                </a:cxn>
                <a:cxn ang="0">
                  <a:pos x="90" y="81"/>
                </a:cxn>
                <a:cxn ang="0">
                  <a:pos x="87" y="137"/>
                </a:cxn>
                <a:cxn ang="0">
                  <a:pos x="36" y="165"/>
                </a:cxn>
                <a:cxn ang="0">
                  <a:pos x="62" y="0"/>
                </a:cxn>
                <a:cxn ang="0">
                  <a:pos x="62" y="40"/>
                </a:cxn>
                <a:cxn ang="0">
                  <a:pos x="62" y="0"/>
                </a:cxn>
                <a:cxn ang="0">
                  <a:pos x="154" y="110"/>
                </a:cxn>
                <a:cxn ang="0">
                  <a:pos x="91" y="110"/>
                </a:cxn>
                <a:cxn ang="0">
                  <a:pos x="182" y="0"/>
                </a:cxn>
                <a:cxn ang="0">
                  <a:pos x="182" y="40"/>
                </a:cxn>
                <a:cxn ang="0">
                  <a:pos x="182" y="0"/>
                </a:cxn>
              </a:cxnLst>
              <a:rect l="0" t="0" r="r" b="b"/>
              <a:pathLst>
                <a:path w="241" h="248">
                  <a:moveTo>
                    <a:pt x="234" y="141"/>
                  </a:moveTo>
                  <a:cubicBezTo>
                    <a:pt x="233" y="141"/>
                    <a:pt x="232" y="141"/>
                    <a:pt x="231" y="141"/>
                  </a:cubicBezTo>
                  <a:cubicBezTo>
                    <a:pt x="227" y="141"/>
                    <a:pt x="223" y="139"/>
                    <a:pt x="222" y="134"/>
                  </a:cubicBezTo>
                  <a:cubicBezTo>
                    <a:pt x="206" y="82"/>
                    <a:pt x="206" y="82"/>
                    <a:pt x="206" y="82"/>
                  </a:cubicBezTo>
                  <a:cubicBezTo>
                    <a:pt x="198" y="82"/>
                    <a:pt x="198" y="82"/>
                    <a:pt x="198" y="82"/>
                  </a:cubicBezTo>
                  <a:cubicBezTo>
                    <a:pt x="217" y="156"/>
                    <a:pt x="217" y="156"/>
                    <a:pt x="217" y="156"/>
                  </a:cubicBezTo>
                  <a:cubicBezTo>
                    <a:pt x="218" y="157"/>
                    <a:pt x="218" y="158"/>
                    <a:pt x="218" y="160"/>
                  </a:cubicBezTo>
                  <a:cubicBezTo>
                    <a:pt x="218" y="164"/>
                    <a:pt x="214" y="168"/>
                    <a:pt x="210" y="168"/>
                  </a:cubicBezTo>
                  <a:cubicBezTo>
                    <a:pt x="209" y="168"/>
                    <a:pt x="209" y="168"/>
                    <a:pt x="209" y="168"/>
                  </a:cubicBezTo>
                  <a:cubicBezTo>
                    <a:pt x="208" y="167"/>
                    <a:pt x="208" y="166"/>
                    <a:pt x="208" y="165"/>
                  </a:cubicBezTo>
                  <a:cubicBezTo>
                    <a:pt x="203" y="148"/>
                    <a:pt x="186" y="137"/>
                    <a:pt x="168" y="137"/>
                  </a:cubicBezTo>
                  <a:cubicBezTo>
                    <a:pt x="157" y="137"/>
                    <a:pt x="157" y="137"/>
                    <a:pt x="157" y="137"/>
                  </a:cubicBezTo>
                  <a:cubicBezTo>
                    <a:pt x="163" y="129"/>
                    <a:pt x="166" y="120"/>
                    <a:pt x="166" y="110"/>
                  </a:cubicBezTo>
                  <a:cubicBezTo>
                    <a:pt x="166" y="93"/>
                    <a:pt x="156" y="78"/>
                    <a:pt x="141" y="71"/>
                  </a:cubicBezTo>
                  <a:cubicBezTo>
                    <a:pt x="144" y="62"/>
                    <a:pt x="144" y="62"/>
                    <a:pt x="144" y="62"/>
                  </a:cubicBezTo>
                  <a:cubicBezTo>
                    <a:pt x="144" y="62"/>
                    <a:pt x="144" y="62"/>
                    <a:pt x="144" y="62"/>
                  </a:cubicBezTo>
                  <a:cubicBezTo>
                    <a:pt x="147" y="53"/>
                    <a:pt x="154" y="48"/>
                    <a:pt x="162" y="48"/>
                  </a:cubicBezTo>
                  <a:cubicBezTo>
                    <a:pt x="201" y="48"/>
                    <a:pt x="201" y="48"/>
                    <a:pt x="201" y="48"/>
                  </a:cubicBezTo>
                  <a:cubicBezTo>
                    <a:pt x="209" y="48"/>
                    <a:pt x="216" y="53"/>
                    <a:pt x="219" y="62"/>
                  </a:cubicBezTo>
                  <a:cubicBezTo>
                    <a:pt x="219" y="62"/>
                    <a:pt x="219" y="62"/>
                    <a:pt x="219" y="62"/>
                  </a:cubicBezTo>
                  <a:cubicBezTo>
                    <a:pt x="240" y="129"/>
                    <a:pt x="240" y="129"/>
                    <a:pt x="240" y="129"/>
                  </a:cubicBezTo>
                  <a:cubicBezTo>
                    <a:pt x="241" y="134"/>
                    <a:pt x="238" y="139"/>
                    <a:pt x="234" y="141"/>
                  </a:cubicBezTo>
                  <a:close/>
                  <a:moveTo>
                    <a:pt x="176" y="237"/>
                  </a:moveTo>
                  <a:cubicBezTo>
                    <a:pt x="170" y="198"/>
                    <a:pt x="170" y="198"/>
                    <a:pt x="170" y="198"/>
                  </a:cubicBezTo>
                  <a:cubicBezTo>
                    <a:pt x="162" y="198"/>
                    <a:pt x="162" y="198"/>
                    <a:pt x="162" y="198"/>
                  </a:cubicBezTo>
                  <a:cubicBezTo>
                    <a:pt x="164" y="242"/>
                    <a:pt x="164" y="242"/>
                    <a:pt x="164" y="242"/>
                  </a:cubicBezTo>
                  <a:cubicBezTo>
                    <a:pt x="151" y="246"/>
                    <a:pt x="137" y="248"/>
                    <a:pt x="122" y="248"/>
                  </a:cubicBezTo>
                  <a:cubicBezTo>
                    <a:pt x="108" y="248"/>
                    <a:pt x="94" y="246"/>
                    <a:pt x="81" y="242"/>
                  </a:cubicBezTo>
                  <a:cubicBezTo>
                    <a:pt x="83" y="198"/>
                    <a:pt x="83" y="198"/>
                    <a:pt x="83" y="198"/>
                  </a:cubicBezTo>
                  <a:cubicBezTo>
                    <a:pt x="75" y="198"/>
                    <a:pt x="75" y="198"/>
                    <a:pt x="75" y="198"/>
                  </a:cubicBezTo>
                  <a:cubicBezTo>
                    <a:pt x="67" y="237"/>
                    <a:pt x="67" y="237"/>
                    <a:pt x="67" y="237"/>
                  </a:cubicBezTo>
                  <a:cubicBezTo>
                    <a:pt x="57" y="232"/>
                    <a:pt x="48" y="226"/>
                    <a:pt x="40" y="219"/>
                  </a:cubicBezTo>
                  <a:cubicBezTo>
                    <a:pt x="48" y="171"/>
                    <a:pt x="48" y="171"/>
                    <a:pt x="48" y="171"/>
                  </a:cubicBezTo>
                  <a:cubicBezTo>
                    <a:pt x="48" y="170"/>
                    <a:pt x="48" y="169"/>
                    <a:pt x="48" y="169"/>
                  </a:cubicBezTo>
                  <a:cubicBezTo>
                    <a:pt x="52" y="157"/>
                    <a:pt x="63" y="149"/>
                    <a:pt x="77" y="149"/>
                  </a:cubicBezTo>
                  <a:cubicBezTo>
                    <a:pt x="104" y="149"/>
                    <a:pt x="104" y="149"/>
                    <a:pt x="104" y="149"/>
                  </a:cubicBezTo>
                  <a:cubicBezTo>
                    <a:pt x="123" y="182"/>
                    <a:pt x="123" y="182"/>
                    <a:pt x="123" y="182"/>
                  </a:cubicBezTo>
                  <a:cubicBezTo>
                    <a:pt x="141" y="149"/>
                    <a:pt x="141" y="149"/>
                    <a:pt x="141" y="149"/>
                  </a:cubicBezTo>
                  <a:cubicBezTo>
                    <a:pt x="168" y="149"/>
                    <a:pt x="168" y="149"/>
                    <a:pt x="168" y="149"/>
                  </a:cubicBezTo>
                  <a:cubicBezTo>
                    <a:pt x="181" y="149"/>
                    <a:pt x="192" y="157"/>
                    <a:pt x="196" y="169"/>
                  </a:cubicBezTo>
                  <a:cubicBezTo>
                    <a:pt x="196" y="169"/>
                    <a:pt x="196" y="170"/>
                    <a:pt x="196" y="171"/>
                  </a:cubicBezTo>
                  <a:cubicBezTo>
                    <a:pt x="204" y="219"/>
                    <a:pt x="204" y="219"/>
                    <a:pt x="204" y="219"/>
                  </a:cubicBezTo>
                  <a:cubicBezTo>
                    <a:pt x="196" y="226"/>
                    <a:pt x="186" y="232"/>
                    <a:pt x="176" y="237"/>
                  </a:cubicBezTo>
                  <a:close/>
                  <a:moveTo>
                    <a:pt x="35" y="169"/>
                  </a:moveTo>
                  <a:cubicBezTo>
                    <a:pt x="34" y="174"/>
                    <a:pt x="34" y="174"/>
                    <a:pt x="34" y="174"/>
                  </a:cubicBezTo>
                  <a:cubicBezTo>
                    <a:pt x="36" y="80"/>
                    <a:pt x="36" y="80"/>
                    <a:pt x="36" y="80"/>
                  </a:cubicBezTo>
                  <a:cubicBezTo>
                    <a:pt x="30" y="80"/>
                    <a:pt x="30" y="80"/>
                    <a:pt x="30" y="80"/>
                  </a:cubicBezTo>
                  <a:cubicBezTo>
                    <a:pt x="21" y="131"/>
                    <a:pt x="21" y="131"/>
                    <a:pt x="21" y="131"/>
                  </a:cubicBezTo>
                  <a:cubicBezTo>
                    <a:pt x="20" y="136"/>
                    <a:pt x="16" y="140"/>
                    <a:pt x="11" y="140"/>
                  </a:cubicBezTo>
                  <a:cubicBezTo>
                    <a:pt x="11" y="140"/>
                    <a:pt x="10" y="140"/>
                    <a:pt x="9" y="140"/>
                  </a:cubicBezTo>
                  <a:cubicBezTo>
                    <a:pt x="4" y="139"/>
                    <a:pt x="0" y="133"/>
                    <a:pt x="1" y="128"/>
                  </a:cubicBezTo>
                  <a:cubicBezTo>
                    <a:pt x="12" y="61"/>
                    <a:pt x="12" y="61"/>
                    <a:pt x="12" y="61"/>
                  </a:cubicBezTo>
                  <a:cubicBezTo>
                    <a:pt x="12" y="60"/>
                    <a:pt x="12" y="60"/>
                    <a:pt x="12" y="60"/>
                  </a:cubicBezTo>
                  <a:cubicBezTo>
                    <a:pt x="15" y="52"/>
                    <a:pt x="23" y="47"/>
                    <a:pt x="31" y="47"/>
                  </a:cubicBezTo>
                  <a:cubicBezTo>
                    <a:pt x="49" y="47"/>
                    <a:pt x="49" y="47"/>
                    <a:pt x="49" y="47"/>
                  </a:cubicBezTo>
                  <a:cubicBezTo>
                    <a:pt x="62" y="69"/>
                    <a:pt x="62" y="69"/>
                    <a:pt x="62" y="69"/>
                  </a:cubicBezTo>
                  <a:cubicBezTo>
                    <a:pt x="76" y="47"/>
                    <a:pt x="76" y="47"/>
                    <a:pt x="76" y="47"/>
                  </a:cubicBezTo>
                  <a:cubicBezTo>
                    <a:pt x="94" y="47"/>
                    <a:pt x="94" y="47"/>
                    <a:pt x="94" y="47"/>
                  </a:cubicBezTo>
                  <a:cubicBezTo>
                    <a:pt x="103" y="47"/>
                    <a:pt x="110" y="52"/>
                    <a:pt x="113" y="60"/>
                  </a:cubicBezTo>
                  <a:cubicBezTo>
                    <a:pt x="113" y="61"/>
                    <a:pt x="113" y="61"/>
                    <a:pt x="113" y="61"/>
                  </a:cubicBezTo>
                  <a:cubicBezTo>
                    <a:pt x="114" y="67"/>
                    <a:pt x="114" y="67"/>
                    <a:pt x="114" y="67"/>
                  </a:cubicBezTo>
                  <a:cubicBezTo>
                    <a:pt x="105" y="69"/>
                    <a:pt x="97" y="73"/>
                    <a:pt x="91" y="80"/>
                  </a:cubicBezTo>
                  <a:cubicBezTo>
                    <a:pt x="90" y="80"/>
                    <a:pt x="90" y="80"/>
                    <a:pt x="90" y="80"/>
                  </a:cubicBezTo>
                  <a:cubicBezTo>
                    <a:pt x="90" y="81"/>
                    <a:pt x="90" y="81"/>
                    <a:pt x="90" y="81"/>
                  </a:cubicBezTo>
                  <a:cubicBezTo>
                    <a:pt x="83" y="88"/>
                    <a:pt x="79" y="99"/>
                    <a:pt x="79" y="110"/>
                  </a:cubicBezTo>
                  <a:cubicBezTo>
                    <a:pt x="79" y="120"/>
                    <a:pt x="82" y="129"/>
                    <a:pt x="87" y="137"/>
                  </a:cubicBezTo>
                  <a:cubicBezTo>
                    <a:pt x="77" y="137"/>
                    <a:pt x="77" y="137"/>
                    <a:pt x="77" y="137"/>
                  </a:cubicBezTo>
                  <a:cubicBezTo>
                    <a:pt x="58" y="137"/>
                    <a:pt x="41" y="148"/>
                    <a:pt x="36" y="165"/>
                  </a:cubicBezTo>
                  <a:cubicBezTo>
                    <a:pt x="36" y="166"/>
                    <a:pt x="35" y="167"/>
                    <a:pt x="35" y="169"/>
                  </a:cubicBezTo>
                  <a:close/>
                  <a:moveTo>
                    <a:pt x="62" y="0"/>
                  </a:moveTo>
                  <a:cubicBezTo>
                    <a:pt x="74" y="0"/>
                    <a:pt x="83" y="9"/>
                    <a:pt x="83" y="20"/>
                  </a:cubicBezTo>
                  <a:cubicBezTo>
                    <a:pt x="83" y="31"/>
                    <a:pt x="74" y="40"/>
                    <a:pt x="62" y="40"/>
                  </a:cubicBezTo>
                  <a:cubicBezTo>
                    <a:pt x="51" y="40"/>
                    <a:pt x="42" y="31"/>
                    <a:pt x="42" y="20"/>
                  </a:cubicBezTo>
                  <a:cubicBezTo>
                    <a:pt x="42" y="9"/>
                    <a:pt x="51" y="0"/>
                    <a:pt x="62" y="0"/>
                  </a:cubicBezTo>
                  <a:close/>
                  <a:moveTo>
                    <a:pt x="122" y="79"/>
                  </a:moveTo>
                  <a:cubicBezTo>
                    <a:pt x="140" y="79"/>
                    <a:pt x="154" y="93"/>
                    <a:pt x="154" y="110"/>
                  </a:cubicBezTo>
                  <a:cubicBezTo>
                    <a:pt x="154" y="127"/>
                    <a:pt x="140" y="141"/>
                    <a:pt x="122" y="141"/>
                  </a:cubicBezTo>
                  <a:cubicBezTo>
                    <a:pt x="105" y="141"/>
                    <a:pt x="91" y="127"/>
                    <a:pt x="91" y="110"/>
                  </a:cubicBezTo>
                  <a:cubicBezTo>
                    <a:pt x="91" y="93"/>
                    <a:pt x="105" y="79"/>
                    <a:pt x="122" y="79"/>
                  </a:cubicBezTo>
                  <a:close/>
                  <a:moveTo>
                    <a:pt x="182" y="0"/>
                  </a:moveTo>
                  <a:cubicBezTo>
                    <a:pt x="193" y="0"/>
                    <a:pt x="201" y="9"/>
                    <a:pt x="201" y="20"/>
                  </a:cubicBezTo>
                  <a:cubicBezTo>
                    <a:pt x="201" y="31"/>
                    <a:pt x="193" y="40"/>
                    <a:pt x="182" y="40"/>
                  </a:cubicBezTo>
                  <a:cubicBezTo>
                    <a:pt x="171" y="40"/>
                    <a:pt x="162" y="31"/>
                    <a:pt x="162" y="20"/>
                  </a:cubicBezTo>
                  <a:cubicBezTo>
                    <a:pt x="162" y="9"/>
                    <a:pt x="171" y="0"/>
                    <a:pt x="182" y="0"/>
                  </a:cubicBezTo>
                  <a:close/>
                </a:path>
              </a:pathLst>
            </a:custGeom>
            <a:solidFill>
              <a:schemeClr val="accent2"/>
            </a:solidFill>
            <a:ln w="9525">
              <a:noFill/>
              <a:round/>
              <a:headEnd/>
              <a:tailEnd/>
            </a:ln>
          </p:spPr>
          <p:txBody>
            <a:bodyPr vert="horz" wrap="square" lIns="100817" tIns="50408" rIns="100817" bIns="50408" numCol="1" anchor="t" anchorCtr="0" compatLnSpc="1">
              <a:prstTxWarp prst="textNoShape">
                <a:avLst/>
              </a:prstTxWarp>
            </a:bodyPr>
            <a:lstStyle/>
            <a:p>
              <a:endParaRPr lang="en-US" sz="2205" dirty="0">
                <a:latin typeface="Arial" panose="020B0604020202020204" pitchFamily="34" charset="0"/>
                <a:cs typeface="Arial" panose="020B0604020202020204" pitchFamily="34" charset="0"/>
                <a:sym typeface="Arial" panose="020B0604020202020204" pitchFamily="34" charset="0"/>
              </a:endParaRPr>
            </a:p>
          </p:txBody>
        </p:sp>
        <p:sp>
          <p:nvSpPr>
            <p:cNvPr id="223" name="TextBox 222">
              <a:extLst>
                <a:ext uri="{FF2B5EF4-FFF2-40B4-BE49-F238E27FC236}">
                  <a16:creationId xmlns:a16="http://schemas.microsoft.com/office/drawing/2014/main" id="{05B05740-BA90-4261-B93E-EF21C46E4DF6}"/>
                </a:ext>
              </a:extLst>
            </p:cNvPr>
            <p:cNvSpPr txBox="1"/>
            <p:nvPr/>
          </p:nvSpPr>
          <p:spPr>
            <a:xfrm>
              <a:off x="398611" y="4083756"/>
              <a:ext cx="642084" cy="128185"/>
            </a:xfrm>
            <a:prstGeom prst="rect">
              <a:avLst/>
            </a:prstGeom>
            <a:solidFill>
              <a:schemeClr val="bg1"/>
            </a:solidFill>
          </p:spPr>
          <p:txBody>
            <a:bodyPr wrap="square" lIns="0" tIns="0" rIns="0" bIns="0" rtlCol="0">
              <a:noAutofit/>
            </a:bodyPr>
            <a:lstStyle/>
            <a:p>
              <a:pPr defTabSz="456758" fontAlgn="base">
                <a:spcBef>
                  <a:spcPts val="1200"/>
                </a:spcBef>
              </a:pPr>
              <a:r>
                <a:rPr lang="en-US" sz="1200" dirty="0">
                  <a:solidFill>
                    <a:srgbClr val="064E69"/>
                  </a:solidFill>
                  <a:cs typeface="Open Sans Light"/>
                </a:rPr>
                <a:t>Nurses</a:t>
              </a:r>
            </a:p>
          </p:txBody>
        </p:sp>
      </p:grpSp>
      <p:sp>
        <p:nvSpPr>
          <p:cNvPr id="65" name="Rectangle 64">
            <a:extLst>
              <a:ext uri="{FF2B5EF4-FFF2-40B4-BE49-F238E27FC236}">
                <a16:creationId xmlns:a16="http://schemas.microsoft.com/office/drawing/2014/main" id="{DCDD08F1-8E92-436A-8849-0B16C4DDC877}"/>
              </a:ext>
            </a:extLst>
          </p:cNvPr>
          <p:cNvSpPr/>
          <p:nvPr/>
        </p:nvSpPr>
        <p:spPr>
          <a:xfrm>
            <a:off x="2381817" y="3152467"/>
            <a:ext cx="1241880" cy="24796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mj-lt"/>
                <a:cs typeface="Open Sans Bold"/>
              </a:rPr>
              <a:t>Dynamo/</a:t>
            </a:r>
          </a:p>
        </p:txBody>
      </p:sp>
    </p:spTree>
    <p:extLst>
      <p:ext uri="{BB962C8B-B14F-4D97-AF65-F5344CB8AC3E}">
        <p14:creationId xmlns:p14="http://schemas.microsoft.com/office/powerpoint/2010/main" val="19547779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7343F6F1-2DF9-4540-876E-C9520A79CF06}"/>
              </a:ext>
            </a:extLst>
          </p:cNvPr>
          <p:cNvSpPr/>
          <p:nvPr/>
        </p:nvSpPr>
        <p:spPr>
          <a:xfrm>
            <a:off x="4686351" y="1569435"/>
            <a:ext cx="4040660" cy="3948448"/>
          </a:xfrm>
          <a:prstGeom prst="ellipse">
            <a:avLst/>
          </a:prstGeom>
          <a:solidFill>
            <a:srgbClr val="FFFF00"/>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cs typeface="Open Sans Bold"/>
            </a:endParaRPr>
          </a:p>
        </p:txBody>
      </p:sp>
      <p:sp>
        <p:nvSpPr>
          <p:cNvPr id="96" name="TextBox 95">
            <a:extLst>
              <a:ext uri="{FF2B5EF4-FFF2-40B4-BE49-F238E27FC236}">
                <a16:creationId xmlns:a16="http://schemas.microsoft.com/office/drawing/2014/main" id="{73E687B6-5889-485C-8F6B-B5FDDCFB14FF}"/>
              </a:ext>
            </a:extLst>
          </p:cNvPr>
          <p:cNvSpPr txBox="1"/>
          <p:nvPr/>
        </p:nvSpPr>
        <p:spPr>
          <a:xfrm>
            <a:off x="8337152" y="872352"/>
            <a:ext cx="2061975" cy="136796"/>
          </a:xfrm>
          <a:prstGeom prst="rect">
            <a:avLst/>
          </a:prstGeom>
          <a:noFill/>
        </p:spPr>
        <p:txBody>
          <a:bodyPr wrap="none" lIns="0" tIns="0" rIns="0" bIns="0" rtlCol="0">
            <a:noAutofit/>
          </a:bodyPr>
          <a:lstStyle/>
          <a:p>
            <a:pPr defTabSz="456758" fontAlgn="base"/>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Clinical Platform and UDF</a:t>
            </a:r>
            <a:endParaRPr lang="en-US" sz="1100" dirty="0">
              <a:solidFill>
                <a:schemeClr val="bg1"/>
              </a:solidFill>
              <a:latin typeface="Open Sans Light"/>
              <a:cs typeface="Open Sans Light"/>
            </a:endParaRPr>
          </a:p>
        </p:txBody>
      </p:sp>
      <p:sp>
        <p:nvSpPr>
          <p:cNvPr id="86" name="Flowchart: Magnetic Disk 85">
            <a:extLst>
              <a:ext uri="{FF2B5EF4-FFF2-40B4-BE49-F238E27FC236}">
                <a16:creationId xmlns:a16="http://schemas.microsoft.com/office/drawing/2014/main" id="{6A450B28-565F-4757-B55B-AFF3A06FC011}"/>
              </a:ext>
            </a:extLst>
          </p:cNvPr>
          <p:cNvSpPr/>
          <p:nvPr/>
        </p:nvSpPr>
        <p:spPr>
          <a:xfrm>
            <a:off x="295679" y="1234282"/>
            <a:ext cx="1350241" cy="664572"/>
          </a:xfrm>
          <a:prstGeom prst="flowChartMagneticDisk">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Pharmacy </a:t>
            </a:r>
          </a:p>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Prior Authorization</a:t>
            </a:r>
          </a:p>
        </p:txBody>
      </p:sp>
      <p:sp>
        <p:nvSpPr>
          <p:cNvPr id="73" name="Flowchart: Magnetic Disk 72">
            <a:extLst>
              <a:ext uri="{FF2B5EF4-FFF2-40B4-BE49-F238E27FC236}">
                <a16:creationId xmlns:a16="http://schemas.microsoft.com/office/drawing/2014/main" id="{3D44633B-C4BD-401C-92BC-306F3DD82470}"/>
              </a:ext>
            </a:extLst>
          </p:cNvPr>
          <p:cNvSpPr/>
          <p:nvPr/>
        </p:nvSpPr>
        <p:spPr>
          <a:xfrm>
            <a:off x="295678" y="1963789"/>
            <a:ext cx="1350241" cy="816919"/>
          </a:xfrm>
          <a:prstGeom prst="flowChartMagneticDisk">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Specialty</a:t>
            </a:r>
          </a:p>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Pharmacy </a:t>
            </a:r>
          </a:p>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Prior Authorization</a:t>
            </a:r>
          </a:p>
        </p:txBody>
      </p:sp>
      <p:sp>
        <p:nvSpPr>
          <p:cNvPr id="74" name="Flowchart: Magnetic Disk 73">
            <a:extLst>
              <a:ext uri="{FF2B5EF4-FFF2-40B4-BE49-F238E27FC236}">
                <a16:creationId xmlns:a16="http://schemas.microsoft.com/office/drawing/2014/main" id="{9B4A0E12-114B-4C3F-BA6B-2314681CF31B}"/>
              </a:ext>
            </a:extLst>
          </p:cNvPr>
          <p:cNvSpPr/>
          <p:nvPr/>
        </p:nvSpPr>
        <p:spPr>
          <a:xfrm>
            <a:off x="295678" y="2845643"/>
            <a:ext cx="1350241" cy="664572"/>
          </a:xfrm>
          <a:prstGeom prst="flowChartMagneticDisk">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PBM </a:t>
            </a:r>
          </a:p>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Prior Authorization</a:t>
            </a:r>
          </a:p>
        </p:txBody>
      </p:sp>
      <p:sp>
        <p:nvSpPr>
          <p:cNvPr id="75" name="Flowchart: Magnetic Disk 74">
            <a:extLst>
              <a:ext uri="{FF2B5EF4-FFF2-40B4-BE49-F238E27FC236}">
                <a16:creationId xmlns:a16="http://schemas.microsoft.com/office/drawing/2014/main" id="{D40D64B4-9F68-4960-BE3A-E80AA1A47D7D}"/>
              </a:ext>
            </a:extLst>
          </p:cNvPr>
          <p:cNvSpPr/>
          <p:nvPr/>
        </p:nvSpPr>
        <p:spPr>
          <a:xfrm>
            <a:off x="270359" y="3601655"/>
            <a:ext cx="1350241" cy="816918"/>
          </a:xfrm>
          <a:prstGeom prst="flowChartMagneticDisk">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Aetna Medical </a:t>
            </a:r>
          </a:p>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Pharmacy </a:t>
            </a:r>
          </a:p>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Prior Authorization</a:t>
            </a:r>
          </a:p>
        </p:txBody>
      </p:sp>
      <p:sp>
        <p:nvSpPr>
          <p:cNvPr id="76" name="Flowchart: Magnetic Disk 75">
            <a:extLst>
              <a:ext uri="{FF2B5EF4-FFF2-40B4-BE49-F238E27FC236}">
                <a16:creationId xmlns:a16="http://schemas.microsoft.com/office/drawing/2014/main" id="{F64E6EB8-8D47-43D1-AA70-57857F457823}"/>
              </a:ext>
            </a:extLst>
          </p:cNvPr>
          <p:cNvSpPr/>
          <p:nvPr/>
        </p:nvSpPr>
        <p:spPr>
          <a:xfrm>
            <a:off x="1785819" y="1129195"/>
            <a:ext cx="1350241" cy="816919"/>
          </a:xfrm>
          <a:prstGeom prst="flowChartMagneticDisk">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Aetna Medical</a:t>
            </a:r>
          </a:p>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Medicaid</a:t>
            </a:r>
          </a:p>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Prior Authorization</a:t>
            </a:r>
          </a:p>
        </p:txBody>
      </p:sp>
      <p:sp>
        <p:nvSpPr>
          <p:cNvPr id="77" name="Flowchart: Magnetic Disk 76">
            <a:extLst>
              <a:ext uri="{FF2B5EF4-FFF2-40B4-BE49-F238E27FC236}">
                <a16:creationId xmlns:a16="http://schemas.microsoft.com/office/drawing/2014/main" id="{D113D78A-46DD-4E40-A29A-902B11ABFABB}"/>
              </a:ext>
            </a:extLst>
          </p:cNvPr>
          <p:cNvSpPr/>
          <p:nvPr/>
        </p:nvSpPr>
        <p:spPr>
          <a:xfrm>
            <a:off x="1762402" y="1965960"/>
            <a:ext cx="1350241" cy="1102210"/>
          </a:xfrm>
          <a:prstGeom prst="flowChartMagneticDisk">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Aetna Medical</a:t>
            </a:r>
          </a:p>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Medicare/</a:t>
            </a:r>
          </a:p>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Commercial</a:t>
            </a:r>
          </a:p>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Prior Authorization</a:t>
            </a:r>
          </a:p>
        </p:txBody>
      </p:sp>
      <p:sp>
        <p:nvSpPr>
          <p:cNvPr id="79" name="Flowchart: Magnetic Disk 78">
            <a:extLst>
              <a:ext uri="{FF2B5EF4-FFF2-40B4-BE49-F238E27FC236}">
                <a16:creationId xmlns:a16="http://schemas.microsoft.com/office/drawing/2014/main" id="{75B70701-A6AE-4B2A-B1FF-31659D3EDA2B}"/>
              </a:ext>
            </a:extLst>
          </p:cNvPr>
          <p:cNvSpPr/>
          <p:nvPr/>
        </p:nvSpPr>
        <p:spPr>
          <a:xfrm>
            <a:off x="3118629" y="2637731"/>
            <a:ext cx="1350241" cy="816919"/>
          </a:xfrm>
          <a:prstGeom prst="flowChartMagneticDisk">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EAP</a:t>
            </a:r>
          </a:p>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Behavior</a:t>
            </a:r>
          </a:p>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Prior Authorization</a:t>
            </a:r>
          </a:p>
        </p:txBody>
      </p:sp>
      <p:sp>
        <p:nvSpPr>
          <p:cNvPr id="80" name="Flowchart: Magnetic Disk 79">
            <a:extLst>
              <a:ext uri="{FF2B5EF4-FFF2-40B4-BE49-F238E27FC236}">
                <a16:creationId xmlns:a16="http://schemas.microsoft.com/office/drawing/2014/main" id="{454DB22D-FD81-4BFB-865E-88385DD22533}"/>
              </a:ext>
            </a:extLst>
          </p:cNvPr>
          <p:cNvSpPr/>
          <p:nvPr/>
        </p:nvSpPr>
        <p:spPr>
          <a:xfrm>
            <a:off x="9026014" y="1295032"/>
            <a:ext cx="1350241" cy="628168"/>
          </a:xfrm>
          <a:prstGeom prst="flowChartMagneticDisk">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Case Management</a:t>
            </a:r>
          </a:p>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Medicaid</a:t>
            </a:r>
          </a:p>
          <a:p>
            <a:pPr algn="ctr"/>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2" name="Flowchart: Magnetic Disk 81">
            <a:extLst>
              <a:ext uri="{FF2B5EF4-FFF2-40B4-BE49-F238E27FC236}">
                <a16:creationId xmlns:a16="http://schemas.microsoft.com/office/drawing/2014/main" id="{42B0AD65-D759-4B8F-8F2E-B4DE662E892E}"/>
              </a:ext>
            </a:extLst>
          </p:cNvPr>
          <p:cNvSpPr/>
          <p:nvPr/>
        </p:nvSpPr>
        <p:spPr>
          <a:xfrm>
            <a:off x="9026013" y="1986617"/>
            <a:ext cx="1350241" cy="775822"/>
          </a:xfrm>
          <a:prstGeom prst="flowChartMagneticDisk">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Case Management</a:t>
            </a:r>
          </a:p>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Medicare/</a:t>
            </a:r>
          </a:p>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Commercial</a:t>
            </a:r>
          </a:p>
          <a:p>
            <a:pPr algn="ctr"/>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3" name="Flowchart: Magnetic Disk 82">
            <a:extLst>
              <a:ext uri="{FF2B5EF4-FFF2-40B4-BE49-F238E27FC236}">
                <a16:creationId xmlns:a16="http://schemas.microsoft.com/office/drawing/2014/main" id="{32C7B58B-1BD8-49AA-A28E-BCCB21288BCA}"/>
              </a:ext>
            </a:extLst>
          </p:cNvPr>
          <p:cNvSpPr/>
          <p:nvPr/>
        </p:nvSpPr>
        <p:spPr>
          <a:xfrm>
            <a:off x="9026012" y="2820078"/>
            <a:ext cx="1350241" cy="628168"/>
          </a:xfrm>
          <a:prstGeom prst="flowChartMagneticDisk">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Case Management</a:t>
            </a:r>
          </a:p>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Agnostic</a:t>
            </a:r>
          </a:p>
          <a:p>
            <a:pPr algn="ctr"/>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5" name="Flowchart: Magnetic Disk 84">
            <a:extLst>
              <a:ext uri="{FF2B5EF4-FFF2-40B4-BE49-F238E27FC236}">
                <a16:creationId xmlns:a16="http://schemas.microsoft.com/office/drawing/2014/main" id="{FFE18660-5AA7-443B-8794-5FA4781B7947}"/>
              </a:ext>
            </a:extLst>
          </p:cNvPr>
          <p:cNvSpPr/>
          <p:nvPr/>
        </p:nvSpPr>
        <p:spPr>
          <a:xfrm>
            <a:off x="3042862" y="3811994"/>
            <a:ext cx="1350241" cy="628168"/>
          </a:xfrm>
          <a:prstGeom prst="flowChartMagneticDisk">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Disease Management</a:t>
            </a:r>
          </a:p>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Medicaid</a:t>
            </a:r>
          </a:p>
          <a:p>
            <a:pPr algn="ctr"/>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0" name="Flowchart: Magnetic Disk 89">
            <a:extLst>
              <a:ext uri="{FF2B5EF4-FFF2-40B4-BE49-F238E27FC236}">
                <a16:creationId xmlns:a16="http://schemas.microsoft.com/office/drawing/2014/main" id="{43B7D980-A962-474C-A973-E00C4AEBA927}"/>
              </a:ext>
            </a:extLst>
          </p:cNvPr>
          <p:cNvSpPr/>
          <p:nvPr/>
        </p:nvSpPr>
        <p:spPr>
          <a:xfrm>
            <a:off x="2415829" y="4389047"/>
            <a:ext cx="1496608" cy="816917"/>
          </a:xfrm>
          <a:prstGeom prst="flowChartMagneticDisk">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Disease Management</a:t>
            </a:r>
          </a:p>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Medicare/</a:t>
            </a:r>
          </a:p>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Commercial</a:t>
            </a:r>
          </a:p>
          <a:p>
            <a:pPr algn="ctr"/>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2" name="Flowchart: Magnetic Disk 91">
            <a:extLst>
              <a:ext uri="{FF2B5EF4-FFF2-40B4-BE49-F238E27FC236}">
                <a16:creationId xmlns:a16="http://schemas.microsoft.com/office/drawing/2014/main" id="{A847D9EE-CB93-450A-9211-83192B604B6E}"/>
              </a:ext>
            </a:extLst>
          </p:cNvPr>
          <p:cNvSpPr/>
          <p:nvPr/>
        </p:nvSpPr>
        <p:spPr>
          <a:xfrm>
            <a:off x="2147196" y="5187872"/>
            <a:ext cx="1350241" cy="628168"/>
          </a:xfrm>
          <a:prstGeom prst="flowChartMagneticDisk">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Disease Management</a:t>
            </a:r>
          </a:p>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Agnostic</a:t>
            </a:r>
          </a:p>
          <a:p>
            <a:pPr algn="ctr"/>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4" name="Flowchart: Magnetic Disk 93">
            <a:extLst>
              <a:ext uri="{FF2B5EF4-FFF2-40B4-BE49-F238E27FC236}">
                <a16:creationId xmlns:a16="http://schemas.microsoft.com/office/drawing/2014/main" id="{CC148406-197E-4951-B01B-69C17F15B798}"/>
              </a:ext>
            </a:extLst>
          </p:cNvPr>
          <p:cNvSpPr/>
          <p:nvPr/>
        </p:nvSpPr>
        <p:spPr>
          <a:xfrm>
            <a:off x="4060247" y="4970783"/>
            <a:ext cx="1350241" cy="628168"/>
          </a:xfrm>
          <a:prstGeom prst="flowChartMagneticDisk">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Minute</a:t>
            </a:r>
          </a:p>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Clinic</a:t>
            </a:r>
          </a:p>
          <a:p>
            <a:pPr algn="ctr"/>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9" name="Flowchart: Magnetic Disk 98">
            <a:extLst>
              <a:ext uri="{FF2B5EF4-FFF2-40B4-BE49-F238E27FC236}">
                <a16:creationId xmlns:a16="http://schemas.microsoft.com/office/drawing/2014/main" id="{A53E429D-0684-4078-8FDC-D060064A8A98}"/>
              </a:ext>
            </a:extLst>
          </p:cNvPr>
          <p:cNvSpPr/>
          <p:nvPr/>
        </p:nvSpPr>
        <p:spPr>
          <a:xfrm>
            <a:off x="4205488" y="5597471"/>
            <a:ext cx="1350241" cy="628168"/>
          </a:xfrm>
          <a:prstGeom prst="flowChartMagneticDisk">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Pharmacy</a:t>
            </a:r>
          </a:p>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Clinic</a:t>
            </a:r>
          </a:p>
          <a:p>
            <a:pPr algn="ctr"/>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0" name="Flowchart: Magnetic Disk 99">
            <a:extLst>
              <a:ext uri="{FF2B5EF4-FFF2-40B4-BE49-F238E27FC236}">
                <a16:creationId xmlns:a16="http://schemas.microsoft.com/office/drawing/2014/main" id="{EEECBAAE-23D0-488A-B62A-CF918992A49A}"/>
              </a:ext>
            </a:extLst>
          </p:cNvPr>
          <p:cNvSpPr/>
          <p:nvPr/>
        </p:nvSpPr>
        <p:spPr>
          <a:xfrm>
            <a:off x="3247792" y="1320721"/>
            <a:ext cx="1350241" cy="1209341"/>
          </a:xfrm>
          <a:prstGeom prst="flowChartMagneticDisk">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Agnostic Medical</a:t>
            </a:r>
          </a:p>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Medicare/</a:t>
            </a:r>
          </a:p>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Commercial</a:t>
            </a:r>
          </a:p>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Prior Authorization</a:t>
            </a:r>
          </a:p>
        </p:txBody>
      </p:sp>
      <p:sp>
        <p:nvSpPr>
          <p:cNvPr id="101" name="Flowchart: Magnetic Disk 100">
            <a:extLst>
              <a:ext uri="{FF2B5EF4-FFF2-40B4-BE49-F238E27FC236}">
                <a16:creationId xmlns:a16="http://schemas.microsoft.com/office/drawing/2014/main" id="{44A3731E-5C80-4B4E-BBDC-C96BC6780BAD}"/>
              </a:ext>
            </a:extLst>
          </p:cNvPr>
          <p:cNvSpPr/>
          <p:nvPr/>
        </p:nvSpPr>
        <p:spPr>
          <a:xfrm>
            <a:off x="10512215" y="3057681"/>
            <a:ext cx="1350241" cy="628168"/>
          </a:xfrm>
          <a:prstGeom prst="flowChartMagneticDisk">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Wellness</a:t>
            </a:r>
          </a:p>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Management</a:t>
            </a:r>
          </a:p>
          <a:p>
            <a:pPr algn="ctr"/>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3" name="Flowchart: Magnetic Disk 102">
            <a:extLst>
              <a:ext uri="{FF2B5EF4-FFF2-40B4-BE49-F238E27FC236}">
                <a16:creationId xmlns:a16="http://schemas.microsoft.com/office/drawing/2014/main" id="{D473A0F3-994D-48CA-93EE-65F4907BEE31}"/>
              </a:ext>
            </a:extLst>
          </p:cNvPr>
          <p:cNvSpPr/>
          <p:nvPr/>
        </p:nvSpPr>
        <p:spPr>
          <a:xfrm>
            <a:off x="9419485" y="3920244"/>
            <a:ext cx="1350241" cy="628168"/>
          </a:xfrm>
          <a:prstGeom prst="flowChartMagneticDisk">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Aetna Medicaid Population Health</a:t>
            </a:r>
          </a:p>
          <a:p>
            <a:pPr algn="ctr"/>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4" name="Flowchart: Magnetic Disk 103">
            <a:extLst>
              <a:ext uri="{FF2B5EF4-FFF2-40B4-BE49-F238E27FC236}">
                <a16:creationId xmlns:a16="http://schemas.microsoft.com/office/drawing/2014/main" id="{1EE81A5D-B0B5-4FC8-B368-D390DB521F8F}"/>
              </a:ext>
            </a:extLst>
          </p:cNvPr>
          <p:cNvSpPr/>
          <p:nvPr/>
        </p:nvSpPr>
        <p:spPr>
          <a:xfrm>
            <a:off x="9543832" y="4516352"/>
            <a:ext cx="1350241" cy="628168"/>
          </a:xfrm>
          <a:prstGeom prst="flowChartMagneticDisk">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Aetna Medicare Population Health</a:t>
            </a:r>
          </a:p>
          <a:p>
            <a:pPr algn="ctr"/>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0" name="Flowchart: Magnetic Disk 109">
            <a:extLst>
              <a:ext uri="{FF2B5EF4-FFF2-40B4-BE49-F238E27FC236}">
                <a16:creationId xmlns:a16="http://schemas.microsoft.com/office/drawing/2014/main" id="{C31DDB7F-9AE5-4BBE-BC39-191325F2AEE6}"/>
              </a:ext>
            </a:extLst>
          </p:cNvPr>
          <p:cNvSpPr/>
          <p:nvPr/>
        </p:nvSpPr>
        <p:spPr>
          <a:xfrm>
            <a:off x="7821604" y="5088493"/>
            <a:ext cx="1350241" cy="628168"/>
          </a:xfrm>
          <a:prstGeom prst="flowChartMagneticDisk">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MTM Retail Fulfillment </a:t>
            </a:r>
          </a:p>
          <a:p>
            <a:pPr algn="ctr"/>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1" name="Flowchart: Magnetic Disk 110">
            <a:extLst>
              <a:ext uri="{FF2B5EF4-FFF2-40B4-BE49-F238E27FC236}">
                <a16:creationId xmlns:a16="http://schemas.microsoft.com/office/drawing/2014/main" id="{8EE90E14-AAE3-4D4E-A79A-D91CD570B124}"/>
              </a:ext>
            </a:extLst>
          </p:cNvPr>
          <p:cNvSpPr/>
          <p:nvPr/>
        </p:nvSpPr>
        <p:spPr>
          <a:xfrm>
            <a:off x="7204931" y="5733435"/>
            <a:ext cx="1350241" cy="628168"/>
          </a:xfrm>
          <a:prstGeom prst="flowChartMagneticDisk">
            <a:avLst/>
          </a:prstGeom>
          <a:solidFill>
            <a:srgbClr val="064E69"/>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MTM  PBM Fulfillment </a:t>
            </a:r>
          </a:p>
          <a:p>
            <a:pPr algn="ctr"/>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2" name="Rectangle: Rounded Corners 111">
            <a:extLst>
              <a:ext uri="{FF2B5EF4-FFF2-40B4-BE49-F238E27FC236}">
                <a16:creationId xmlns:a16="http://schemas.microsoft.com/office/drawing/2014/main" id="{2D52161C-D338-4743-80B2-34A1E2727611}"/>
              </a:ext>
            </a:extLst>
          </p:cNvPr>
          <p:cNvSpPr/>
          <p:nvPr/>
        </p:nvSpPr>
        <p:spPr>
          <a:xfrm>
            <a:off x="5910820" y="1812511"/>
            <a:ext cx="1386624" cy="828812"/>
          </a:xfrm>
          <a:prstGeom prst="round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latin typeface="+mj-lt"/>
                <a:cs typeface="Open Sans Bold"/>
              </a:rPr>
              <a:t>Prior Authorization Utilization  Management</a:t>
            </a:r>
          </a:p>
        </p:txBody>
      </p:sp>
      <p:sp>
        <p:nvSpPr>
          <p:cNvPr id="114" name="Rectangle: Rounded Corners 113">
            <a:extLst>
              <a:ext uri="{FF2B5EF4-FFF2-40B4-BE49-F238E27FC236}">
                <a16:creationId xmlns:a16="http://schemas.microsoft.com/office/drawing/2014/main" id="{5F2EAA22-BCFC-471B-BE27-C37922E99976}"/>
              </a:ext>
            </a:extLst>
          </p:cNvPr>
          <p:cNvSpPr/>
          <p:nvPr/>
        </p:nvSpPr>
        <p:spPr>
          <a:xfrm>
            <a:off x="6105207" y="3371765"/>
            <a:ext cx="1386624" cy="531457"/>
          </a:xfrm>
          <a:prstGeom prst="round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latin typeface="+mj-lt"/>
                <a:cs typeface="Open Sans Bold"/>
              </a:rPr>
              <a:t>Wellness Management</a:t>
            </a:r>
          </a:p>
        </p:txBody>
      </p:sp>
      <p:sp>
        <p:nvSpPr>
          <p:cNvPr id="115" name="Rectangle: Rounded Corners 114">
            <a:extLst>
              <a:ext uri="{FF2B5EF4-FFF2-40B4-BE49-F238E27FC236}">
                <a16:creationId xmlns:a16="http://schemas.microsoft.com/office/drawing/2014/main" id="{BF883AAF-CC00-474F-B679-1EABEE47EF3C}"/>
              </a:ext>
            </a:extLst>
          </p:cNvPr>
          <p:cNvSpPr/>
          <p:nvPr/>
        </p:nvSpPr>
        <p:spPr>
          <a:xfrm>
            <a:off x="4880609" y="2802441"/>
            <a:ext cx="1386119" cy="531457"/>
          </a:xfrm>
          <a:prstGeom prst="round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latin typeface="+mj-lt"/>
                <a:cs typeface="Open Sans Bold"/>
              </a:rPr>
              <a:t>Disease</a:t>
            </a:r>
          </a:p>
          <a:p>
            <a:pPr algn="ctr"/>
            <a:r>
              <a:rPr lang="en-US" sz="1350" dirty="0">
                <a:latin typeface="+mj-lt"/>
                <a:cs typeface="Open Sans Bold"/>
              </a:rPr>
              <a:t>Management</a:t>
            </a:r>
          </a:p>
        </p:txBody>
      </p:sp>
      <p:sp>
        <p:nvSpPr>
          <p:cNvPr id="117" name="Rectangle: Rounded Corners 116">
            <a:extLst>
              <a:ext uri="{FF2B5EF4-FFF2-40B4-BE49-F238E27FC236}">
                <a16:creationId xmlns:a16="http://schemas.microsoft.com/office/drawing/2014/main" id="{0FE1A788-B168-4C3B-933B-00361093833B}"/>
              </a:ext>
            </a:extLst>
          </p:cNvPr>
          <p:cNvSpPr/>
          <p:nvPr/>
        </p:nvSpPr>
        <p:spPr>
          <a:xfrm>
            <a:off x="6949804" y="4160555"/>
            <a:ext cx="1386119" cy="531457"/>
          </a:xfrm>
          <a:prstGeom prst="round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latin typeface="+mj-lt"/>
                <a:cs typeface="Open Sans Bold"/>
              </a:rPr>
              <a:t>Population</a:t>
            </a:r>
          </a:p>
          <a:p>
            <a:pPr algn="ctr"/>
            <a:r>
              <a:rPr lang="en-US" sz="1350" dirty="0">
                <a:latin typeface="+mj-lt"/>
                <a:cs typeface="Open Sans Bold"/>
              </a:rPr>
              <a:t>Health</a:t>
            </a:r>
          </a:p>
        </p:txBody>
      </p:sp>
      <p:sp>
        <p:nvSpPr>
          <p:cNvPr id="118" name="Rectangle: Rounded Corners 117">
            <a:extLst>
              <a:ext uri="{FF2B5EF4-FFF2-40B4-BE49-F238E27FC236}">
                <a16:creationId xmlns:a16="http://schemas.microsoft.com/office/drawing/2014/main" id="{533EA155-595A-4682-BACE-45749F075BB8}"/>
              </a:ext>
            </a:extLst>
          </p:cNvPr>
          <p:cNvSpPr/>
          <p:nvPr/>
        </p:nvSpPr>
        <p:spPr>
          <a:xfrm>
            <a:off x="7204931" y="2705041"/>
            <a:ext cx="1386119" cy="531457"/>
          </a:xfrm>
          <a:prstGeom prst="round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latin typeface="+mj-lt"/>
                <a:cs typeface="Open Sans Bold"/>
              </a:rPr>
              <a:t>Case</a:t>
            </a:r>
          </a:p>
          <a:p>
            <a:pPr algn="ctr"/>
            <a:r>
              <a:rPr lang="en-US" sz="1350" dirty="0">
                <a:latin typeface="+mj-lt"/>
                <a:cs typeface="Open Sans Bold"/>
              </a:rPr>
              <a:t>Management</a:t>
            </a:r>
          </a:p>
        </p:txBody>
      </p:sp>
      <p:sp>
        <p:nvSpPr>
          <p:cNvPr id="120" name="Rectangle: Rounded Corners 119">
            <a:extLst>
              <a:ext uri="{FF2B5EF4-FFF2-40B4-BE49-F238E27FC236}">
                <a16:creationId xmlns:a16="http://schemas.microsoft.com/office/drawing/2014/main" id="{DFE6A911-F11C-4881-A6C8-153DF098AA00}"/>
              </a:ext>
            </a:extLst>
          </p:cNvPr>
          <p:cNvSpPr/>
          <p:nvPr/>
        </p:nvSpPr>
        <p:spPr>
          <a:xfrm>
            <a:off x="5038861" y="4160555"/>
            <a:ext cx="1386119" cy="531457"/>
          </a:xfrm>
          <a:prstGeom prst="round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latin typeface="+mj-lt"/>
                <a:cs typeface="Open Sans Bold"/>
              </a:rPr>
              <a:t>Clinic</a:t>
            </a:r>
          </a:p>
        </p:txBody>
      </p:sp>
      <p:sp>
        <p:nvSpPr>
          <p:cNvPr id="121" name="Rectangle: Rounded Corners 120">
            <a:extLst>
              <a:ext uri="{FF2B5EF4-FFF2-40B4-BE49-F238E27FC236}">
                <a16:creationId xmlns:a16="http://schemas.microsoft.com/office/drawing/2014/main" id="{A8B42D24-B038-4AD5-8F1A-23B32A3E1269}"/>
              </a:ext>
            </a:extLst>
          </p:cNvPr>
          <p:cNvSpPr/>
          <p:nvPr/>
        </p:nvSpPr>
        <p:spPr>
          <a:xfrm>
            <a:off x="5973298" y="4878792"/>
            <a:ext cx="1386119" cy="531457"/>
          </a:xfrm>
          <a:prstGeom prst="round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latin typeface="+mj-lt"/>
                <a:cs typeface="Open Sans Bold"/>
              </a:rPr>
              <a:t>MTM Fulfillment</a:t>
            </a:r>
          </a:p>
        </p:txBody>
      </p:sp>
      <p:sp>
        <p:nvSpPr>
          <p:cNvPr id="2" name="Rectangle 1">
            <a:extLst>
              <a:ext uri="{FF2B5EF4-FFF2-40B4-BE49-F238E27FC236}">
                <a16:creationId xmlns:a16="http://schemas.microsoft.com/office/drawing/2014/main" id="{8AD27531-614B-4E87-A580-BA60F186D5CE}"/>
              </a:ext>
            </a:extLst>
          </p:cNvPr>
          <p:cNvSpPr/>
          <p:nvPr/>
        </p:nvSpPr>
        <p:spPr>
          <a:xfrm>
            <a:off x="6072283" y="1039469"/>
            <a:ext cx="1188147" cy="590931"/>
          </a:xfrm>
          <a:prstGeom prst="rect">
            <a:avLst/>
          </a:prstGeom>
        </p:spPr>
        <p:txBody>
          <a:bodyPr wrap="none">
            <a:spAutoFit/>
          </a:bodyPr>
          <a:lstStyle/>
          <a:p>
            <a:pPr algn="ctr">
              <a:lnSpc>
                <a:spcPct val="90000"/>
              </a:lnSpc>
            </a:pPr>
            <a:r>
              <a:rPr lang="en-US" b="1" dirty="0">
                <a:solidFill>
                  <a:schemeClr val="tx2"/>
                </a:solidFill>
                <a:latin typeface="Domaine Display Bold" panose="020A0803080505060203" pitchFamily="18" charset="0"/>
                <a:ea typeface="Domaine Display" charset="0"/>
                <a:cs typeface="Domaine Display" charset="0"/>
              </a:rPr>
              <a:t>Clinical</a:t>
            </a:r>
          </a:p>
          <a:p>
            <a:pPr algn="ctr">
              <a:lnSpc>
                <a:spcPct val="90000"/>
              </a:lnSpc>
            </a:pPr>
            <a:r>
              <a:rPr lang="en-US" b="1" dirty="0">
                <a:solidFill>
                  <a:schemeClr val="tx2"/>
                </a:solidFill>
                <a:latin typeface="Domaine Display Bold" panose="020A0803080505060203" pitchFamily="18" charset="0"/>
                <a:ea typeface="Domaine Display" charset="0"/>
                <a:cs typeface="Domaine Display" charset="0"/>
              </a:rPr>
              <a:t>Platform</a:t>
            </a:r>
          </a:p>
        </p:txBody>
      </p:sp>
    </p:spTree>
    <p:extLst>
      <p:ext uri="{BB962C8B-B14F-4D97-AF65-F5344CB8AC3E}">
        <p14:creationId xmlns:p14="http://schemas.microsoft.com/office/powerpoint/2010/main" val="566008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6274" y="249306"/>
            <a:ext cx="9688623" cy="476805"/>
          </a:xfrm>
        </p:spPr>
        <p:txBody>
          <a:bodyPr/>
          <a:lstStyle/>
          <a:p>
            <a:r>
              <a:rPr lang="en-US" dirty="0"/>
              <a:t>Executive Summary</a:t>
            </a:r>
          </a:p>
        </p:txBody>
      </p:sp>
      <p:sp>
        <p:nvSpPr>
          <p:cNvPr id="9" name="TextBox 8"/>
          <p:cNvSpPr txBox="1"/>
          <p:nvPr/>
        </p:nvSpPr>
        <p:spPr>
          <a:xfrm>
            <a:off x="8356116" y="2435019"/>
            <a:ext cx="2979476" cy="332399"/>
          </a:xfrm>
          <a:prstGeom prst="rect">
            <a:avLst/>
          </a:prstGeom>
          <a:noFill/>
        </p:spPr>
        <p:txBody>
          <a:bodyPr wrap="none" lIns="91440" tIns="0" rIns="91440" bIns="0" rtlCol="0">
            <a:spAutoFit/>
          </a:bodyPr>
          <a:lstStyle/>
          <a:p>
            <a:pPr algn="ctr">
              <a:lnSpc>
                <a:spcPct val="90000"/>
              </a:lnSpc>
            </a:pPr>
            <a:r>
              <a:rPr lang="en-US" sz="2400" b="1" dirty="0">
                <a:solidFill>
                  <a:schemeClr val="tx2"/>
                </a:solidFill>
                <a:latin typeface="Domaine Display Bold" panose="020A0803080505060203" pitchFamily="18" charset="0"/>
                <a:ea typeface="Domaine Display" charset="0"/>
                <a:cs typeface="Domaine Display" charset="0"/>
              </a:rPr>
              <a:t>Recommendations</a:t>
            </a:r>
          </a:p>
        </p:txBody>
      </p:sp>
      <p:sp>
        <p:nvSpPr>
          <p:cNvPr id="10" name="TextBox 9"/>
          <p:cNvSpPr txBox="1"/>
          <p:nvPr/>
        </p:nvSpPr>
        <p:spPr>
          <a:xfrm>
            <a:off x="5073113" y="2435020"/>
            <a:ext cx="1800642" cy="332399"/>
          </a:xfrm>
          <a:prstGeom prst="rect">
            <a:avLst/>
          </a:prstGeom>
          <a:noFill/>
        </p:spPr>
        <p:txBody>
          <a:bodyPr wrap="none" lIns="0" tIns="0" rIns="0" bIns="0" rtlCol="0">
            <a:spAutoFit/>
          </a:bodyPr>
          <a:lstStyle/>
          <a:p>
            <a:pPr algn="ctr">
              <a:lnSpc>
                <a:spcPct val="90000"/>
              </a:lnSpc>
            </a:pPr>
            <a:r>
              <a:rPr lang="en-US" sz="2400" b="1" dirty="0">
                <a:solidFill>
                  <a:schemeClr val="tx2"/>
                </a:solidFill>
                <a:latin typeface="Domaine Display Bold" panose="020A0803080505060203" pitchFamily="18" charset="0"/>
                <a:ea typeface="Domaine Display" charset="0"/>
                <a:cs typeface="Domaine Display" charset="0"/>
              </a:rPr>
              <a:t>Conclusions</a:t>
            </a:r>
          </a:p>
        </p:txBody>
      </p:sp>
      <p:sp>
        <p:nvSpPr>
          <p:cNvPr id="11" name="TextBox 10"/>
          <p:cNvSpPr txBox="1"/>
          <p:nvPr/>
        </p:nvSpPr>
        <p:spPr>
          <a:xfrm>
            <a:off x="1290604" y="2435021"/>
            <a:ext cx="2059113" cy="332399"/>
          </a:xfrm>
          <a:prstGeom prst="rect">
            <a:avLst/>
          </a:prstGeom>
          <a:noFill/>
        </p:spPr>
        <p:txBody>
          <a:bodyPr wrap="none" lIns="91440" tIns="0" rIns="91440" bIns="0" rtlCol="0">
            <a:spAutoFit/>
          </a:bodyPr>
          <a:lstStyle/>
          <a:p>
            <a:pPr algn="ctr">
              <a:lnSpc>
                <a:spcPct val="90000"/>
              </a:lnSpc>
            </a:pPr>
            <a:r>
              <a:rPr lang="en-US" sz="2400" b="1" dirty="0">
                <a:solidFill>
                  <a:schemeClr val="tx2"/>
                </a:solidFill>
                <a:latin typeface="Domaine Display Bold" panose="020A0803080505060203" pitchFamily="18" charset="0"/>
                <a:ea typeface="Domaine Display" charset="0"/>
                <a:cs typeface="Domaine Display" charset="0"/>
              </a:rPr>
              <a:t>Opportunity</a:t>
            </a:r>
          </a:p>
        </p:txBody>
      </p:sp>
      <p:grpSp>
        <p:nvGrpSpPr>
          <p:cNvPr id="12" name="Group 11"/>
          <p:cNvGrpSpPr/>
          <p:nvPr/>
        </p:nvGrpSpPr>
        <p:grpSpPr>
          <a:xfrm>
            <a:off x="9386168" y="1631098"/>
            <a:ext cx="698729" cy="697143"/>
            <a:chOff x="9453373" y="2636377"/>
            <a:chExt cx="698547" cy="697143"/>
          </a:xfrm>
        </p:grpSpPr>
        <p:sp>
          <p:nvSpPr>
            <p:cNvPr id="13" name="Oval 12"/>
            <p:cNvSpPr/>
            <p:nvPr/>
          </p:nvSpPr>
          <p:spPr>
            <a:xfrm>
              <a:off x="9453373" y="2636377"/>
              <a:ext cx="698547" cy="697143"/>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53479" y="2735781"/>
              <a:ext cx="498334" cy="498334"/>
            </a:xfrm>
            <a:prstGeom prst="rect">
              <a:avLst/>
            </a:prstGeom>
          </p:spPr>
        </p:pic>
      </p:grpSp>
      <p:sp>
        <p:nvSpPr>
          <p:cNvPr id="15" name="Oval 14"/>
          <p:cNvSpPr/>
          <p:nvPr/>
        </p:nvSpPr>
        <p:spPr>
          <a:xfrm>
            <a:off x="1970798" y="1631098"/>
            <a:ext cx="698729" cy="697143"/>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schemeClr val="accent1"/>
              </a:solidFill>
              <a:latin typeface="Open Sans Bold"/>
              <a:cs typeface="Open Sans Bold"/>
            </a:endParaRPr>
          </a:p>
        </p:txBody>
      </p:sp>
      <p:sp>
        <p:nvSpPr>
          <p:cNvPr id="16" name="Oval 15"/>
          <p:cNvSpPr/>
          <p:nvPr/>
        </p:nvSpPr>
        <p:spPr>
          <a:xfrm>
            <a:off x="5676969" y="1631098"/>
            <a:ext cx="698729" cy="697143"/>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cxnSp>
        <p:nvCxnSpPr>
          <p:cNvPr id="17" name="Straight Connector 16"/>
          <p:cNvCxnSpPr/>
          <p:nvPr/>
        </p:nvCxnSpPr>
        <p:spPr>
          <a:xfrm>
            <a:off x="4070321" y="2675752"/>
            <a:ext cx="0" cy="356616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457200" y="2838020"/>
            <a:ext cx="3604964" cy="3431576"/>
          </a:xfrm>
          <a:prstGeom prst="rect">
            <a:avLst/>
          </a:prstGeom>
          <a:noFill/>
        </p:spPr>
        <p:txBody>
          <a:bodyPr wrap="square" lIns="91440" tIns="0" rIns="91440" bIns="91440" rtlCol="0" anchor="t">
            <a:noAutofit/>
          </a:bodyPr>
          <a:lstStyle/>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rPr>
              <a:t>There are duplicated clinical systems across the enterprise: over 10 Care Management/UM systems across the enterprise.  2 Member Incentive systems, 2 Population Health solutions, several customer engagement systems, </a:t>
            </a:r>
            <a:r>
              <a:rPr lang="en-US" sz="1400" dirty="0" err="1">
                <a:solidFill>
                  <a:schemeClr val="tx1">
                    <a:lumMod val="75000"/>
                    <a:lumOff val="25000"/>
                  </a:schemeClr>
                </a:solidFill>
                <a:latin typeface="Arial" panose="020B0604020202020204" pitchFamily="34" charset="0"/>
                <a:ea typeface="Open Sans" charset="0"/>
                <a:cs typeface="Arial" panose="020B0604020202020204" pitchFamily="34" charset="0"/>
              </a:rPr>
              <a:t>etc</a:t>
            </a:r>
            <a:endPar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endParaRPr>
          </a:p>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rPr>
              <a:t>Business owners across the enterprise are frustrated in selecting clinical solutions for their business.</a:t>
            </a:r>
          </a:p>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rPr>
              <a:t>There are many conflicting clinical data integration methodologies and systems</a:t>
            </a:r>
          </a:p>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rPr>
              <a:t>There are synergistic opportunities between pharmacy, clinic and care management. </a:t>
            </a:r>
          </a:p>
        </p:txBody>
      </p:sp>
      <p:sp>
        <p:nvSpPr>
          <p:cNvPr id="19" name="TextBox 18"/>
          <p:cNvSpPr txBox="1"/>
          <p:nvPr/>
        </p:nvSpPr>
        <p:spPr>
          <a:xfrm>
            <a:off x="4070321" y="2826118"/>
            <a:ext cx="3987424" cy="3431577"/>
          </a:xfrm>
          <a:prstGeom prst="rect">
            <a:avLst/>
          </a:prstGeom>
          <a:noFill/>
        </p:spPr>
        <p:txBody>
          <a:bodyPr wrap="square" lIns="91440" tIns="0" rIns="91440" bIns="91440" rtlCol="0" anchor="t">
            <a:noAutofit/>
          </a:bodyPr>
          <a:lstStyle/>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rPr>
              <a:t>CVS’ acquisition of Aetna is creating an opportunity for CVS to truly impact the USA healthcare industry, CVS can “lead the change” in the US healthcare economy.</a:t>
            </a:r>
          </a:p>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rPr>
              <a:t>Duplicate clinical systems and ownerships of clinical systems create waste and inconsistencies in programs </a:t>
            </a:r>
          </a:p>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rPr>
              <a:t>Varied technology stacks and processes are creating difficulties in synergy efforts.</a:t>
            </a:r>
          </a:p>
        </p:txBody>
      </p:sp>
      <p:sp>
        <p:nvSpPr>
          <p:cNvPr id="20" name="TextBox 19"/>
          <p:cNvSpPr txBox="1"/>
          <p:nvPr/>
        </p:nvSpPr>
        <p:spPr>
          <a:xfrm>
            <a:off x="8057745" y="2827666"/>
            <a:ext cx="3724953" cy="3431576"/>
          </a:xfrm>
          <a:prstGeom prst="rect">
            <a:avLst/>
          </a:prstGeom>
          <a:noFill/>
        </p:spPr>
        <p:txBody>
          <a:bodyPr wrap="square" lIns="91440" tIns="0" rIns="91440" bIns="91440" rtlCol="0" anchor="t">
            <a:noAutofit/>
          </a:bodyPr>
          <a:lstStyle/>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rPr>
              <a:t>Amplify the existing Clinical Platform initiatives to serve all of CVS Health.  Providing better clinical results, greater continuity of information and improved costs/savings.</a:t>
            </a:r>
          </a:p>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rPr>
              <a:t>Assign/Assume joint business and technical overall clinical capability leadership/ownership</a:t>
            </a:r>
          </a:p>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rPr>
              <a:t>Communicate clinical capability leadership ownership.</a:t>
            </a:r>
          </a:p>
        </p:txBody>
      </p:sp>
      <p:cxnSp>
        <p:nvCxnSpPr>
          <p:cNvPr id="21" name="Straight Connector 20"/>
          <p:cNvCxnSpPr/>
          <p:nvPr/>
        </p:nvCxnSpPr>
        <p:spPr>
          <a:xfrm>
            <a:off x="8057745" y="2675752"/>
            <a:ext cx="0" cy="356616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22" name="Freeform 4899"/>
          <p:cNvSpPr>
            <a:spLocks noEditPoints="1"/>
          </p:cNvSpPr>
          <p:nvPr/>
        </p:nvSpPr>
        <p:spPr bwMode="auto">
          <a:xfrm>
            <a:off x="5843987" y="1760982"/>
            <a:ext cx="392933" cy="392831"/>
          </a:xfrm>
          <a:custGeom>
            <a:avLst/>
            <a:gdLst>
              <a:gd name="T0" fmla="*/ 190 w 324"/>
              <a:gd name="T1" fmla="*/ 0 h 324"/>
              <a:gd name="T2" fmla="*/ 134 w 324"/>
              <a:gd name="T3" fmla="*/ 20 h 324"/>
              <a:gd name="T4" fmla="*/ 90 w 324"/>
              <a:gd name="T5" fmla="*/ 74 h 324"/>
              <a:gd name="T6" fmla="*/ 82 w 324"/>
              <a:gd name="T7" fmla="*/ 120 h 324"/>
              <a:gd name="T8" fmla="*/ 84 w 324"/>
              <a:gd name="T9" fmla="*/ 146 h 324"/>
              <a:gd name="T10" fmla="*/ 118 w 324"/>
              <a:gd name="T11" fmla="*/ 206 h 324"/>
              <a:gd name="T12" fmla="*/ 178 w 324"/>
              <a:gd name="T13" fmla="*/ 240 h 324"/>
              <a:gd name="T14" fmla="*/ 202 w 324"/>
              <a:gd name="T15" fmla="*/ 242 h 324"/>
              <a:gd name="T16" fmla="*/ 250 w 324"/>
              <a:gd name="T17" fmla="*/ 232 h 324"/>
              <a:gd name="T18" fmla="*/ 304 w 324"/>
              <a:gd name="T19" fmla="*/ 188 h 324"/>
              <a:gd name="T20" fmla="*/ 324 w 324"/>
              <a:gd name="T21" fmla="*/ 132 h 324"/>
              <a:gd name="T22" fmla="*/ 324 w 324"/>
              <a:gd name="T23" fmla="*/ 108 h 324"/>
              <a:gd name="T24" fmla="*/ 304 w 324"/>
              <a:gd name="T25" fmla="*/ 52 h 324"/>
              <a:gd name="T26" fmla="*/ 250 w 324"/>
              <a:gd name="T27" fmla="*/ 8 h 324"/>
              <a:gd name="T28" fmla="*/ 202 w 324"/>
              <a:gd name="T29" fmla="*/ 0 h 324"/>
              <a:gd name="T30" fmla="*/ 202 w 324"/>
              <a:gd name="T31" fmla="*/ 212 h 324"/>
              <a:gd name="T32" fmla="*/ 152 w 324"/>
              <a:gd name="T33" fmla="*/ 196 h 324"/>
              <a:gd name="T34" fmla="*/ 118 w 324"/>
              <a:gd name="T35" fmla="*/ 156 h 324"/>
              <a:gd name="T36" fmla="*/ 112 w 324"/>
              <a:gd name="T37" fmla="*/ 120 h 324"/>
              <a:gd name="T38" fmla="*/ 128 w 324"/>
              <a:gd name="T39" fmla="*/ 70 h 324"/>
              <a:gd name="T40" fmla="*/ 168 w 324"/>
              <a:gd name="T41" fmla="*/ 36 h 324"/>
              <a:gd name="T42" fmla="*/ 202 w 324"/>
              <a:gd name="T43" fmla="*/ 30 h 324"/>
              <a:gd name="T44" fmla="*/ 254 w 324"/>
              <a:gd name="T45" fmla="*/ 46 h 324"/>
              <a:gd name="T46" fmla="*/ 286 w 324"/>
              <a:gd name="T47" fmla="*/ 86 h 324"/>
              <a:gd name="T48" fmla="*/ 294 w 324"/>
              <a:gd name="T49" fmla="*/ 120 h 324"/>
              <a:gd name="T50" fmla="*/ 278 w 324"/>
              <a:gd name="T51" fmla="*/ 172 h 324"/>
              <a:gd name="T52" fmla="*/ 238 w 324"/>
              <a:gd name="T53" fmla="*/ 204 h 324"/>
              <a:gd name="T54" fmla="*/ 202 w 324"/>
              <a:gd name="T55" fmla="*/ 212 h 324"/>
              <a:gd name="T56" fmla="*/ 138 w 324"/>
              <a:gd name="T57" fmla="*/ 130 h 324"/>
              <a:gd name="T58" fmla="*/ 132 w 324"/>
              <a:gd name="T59" fmla="*/ 120 h 324"/>
              <a:gd name="T60" fmla="*/ 138 w 324"/>
              <a:gd name="T61" fmla="*/ 94 h 324"/>
              <a:gd name="T62" fmla="*/ 164 w 324"/>
              <a:gd name="T63" fmla="*/ 62 h 324"/>
              <a:gd name="T64" fmla="*/ 202 w 324"/>
              <a:gd name="T65" fmla="*/ 50 h 324"/>
              <a:gd name="T66" fmla="*/ 210 w 324"/>
              <a:gd name="T67" fmla="*/ 54 h 324"/>
              <a:gd name="T68" fmla="*/ 212 w 324"/>
              <a:gd name="T69" fmla="*/ 60 h 324"/>
              <a:gd name="T70" fmla="*/ 206 w 324"/>
              <a:gd name="T71" fmla="*/ 70 h 324"/>
              <a:gd name="T72" fmla="*/ 192 w 324"/>
              <a:gd name="T73" fmla="*/ 72 h 324"/>
              <a:gd name="T74" fmla="*/ 168 w 324"/>
              <a:gd name="T75" fmla="*/ 86 h 324"/>
              <a:gd name="T76" fmla="*/ 154 w 324"/>
              <a:gd name="T77" fmla="*/ 110 h 324"/>
              <a:gd name="T78" fmla="*/ 152 w 324"/>
              <a:gd name="T79" fmla="*/ 124 h 324"/>
              <a:gd name="T80" fmla="*/ 142 w 324"/>
              <a:gd name="T81" fmla="*/ 130 h 324"/>
              <a:gd name="T82" fmla="*/ 48 w 324"/>
              <a:gd name="T83" fmla="*/ 316 h 324"/>
              <a:gd name="T84" fmla="*/ 28 w 324"/>
              <a:gd name="T85" fmla="*/ 324 h 324"/>
              <a:gd name="T86" fmla="*/ 8 w 324"/>
              <a:gd name="T87" fmla="*/ 316 h 324"/>
              <a:gd name="T88" fmla="*/ 0 w 324"/>
              <a:gd name="T89" fmla="*/ 296 h 324"/>
              <a:gd name="T90" fmla="*/ 86 w 324"/>
              <a:gd name="T91" fmla="*/ 198 h 324"/>
              <a:gd name="T92" fmla="*/ 102 w 324"/>
              <a:gd name="T93" fmla="*/ 220 h 324"/>
              <a:gd name="T94" fmla="*/ 124 w 324"/>
              <a:gd name="T95" fmla="*/ 23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02" y="0"/>
                </a:moveTo>
                <a:lnTo>
                  <a:pt x="202" y="0"/>
                </a:lnTo>
                <a:lnTo>
                  <a:pt x="190" y="0"/>
                </a:lnTo>
                <a:lnTo>
                  <a:pt x="178" y="2"/>
                </a:lnTo>
                <a:lnTo>
                  <a:pt x="156" y="8"/>
                </a:lnTo>
                <a:lnTo>
                  <a:pt x="134" y="20"/>
                </a:lnTo>
                <a:lnTo>
                  <a:pt x="118" y="34"/>
                </a:lnTo>
                <a:lnTo>
                  <a:pt x="102" y="52"/>
                </a:lnTo>
                <a:lnTo>
                  <a:pt x="90" y="74"/>
                </a:lnTo>
                <a:lnTo>
                  <a:pt x="84" y="96"/>
                </a:lnTo>
                <a:lnTo>
                  <a:pt x="82" y="108"/>
                </a:lnTo>
                <a:lnTo>
                  <a:pt x="82" y="120"/>
                </a:lnTo>
                <a:lnTo>
                  <a:pt x="82" y="120"/>
                </a:lnTo>
                <a:lnTo>
                  <a:pt x="82" y="132"/>
                </a:lnTo>
                <a:lnTo>
                  <a:pt x="84" y="146"/>
                </a:lnTo>
                <a:lnTo>
                  <a:pt x="90" y="168"/>
                </a:lnTo>
                <a:lnTo>
                  <a:pt x="102" y="188"/>
                </a:lnTo>
                <a:lnTo>
                  <a:pt x="118" y="206"/>
                </a:lnTo>
                <a:lnTo>
                  <a:pt x="134" y="222"/>
                </a:lnTo>
                <a:lnTo>
                  <a:pt x="156" y="232"/>
                </a:lnTo>
                <a:lnTo>
                  <a:pt x="178" y="240"/>
                </a:lnTo>
                <a:lnTo>
                  <a:pt x="190" y="242"/>
                </a:lnTo>
                <a:lnTo>
                  <a:pt x="202" y="242"/>
                </a:lnTo>
                <a:lnTo>
                  <a:pt x="202" y="242"/>
                </a:lnTo>
                <a:lnTo>
                  <a:pt x="216" y="242"/>
                </a:lnTo>
                <a:lnTo>
                  <a:pt x="228" y="240"/>
                </a:lnTo>
                <a:lnTo>
                  <a:pt x="250" y="232"/>
                </a:lnTo>
                <a:lnTo>
                  <a:pt x="270" y="222"/>
                </a:lnTo>
                <a:lnTo>
                  <a:pt x="288" y="206"/>
                </a:lnTo>
                <a:lnTo>
                  <a:pt x="304" y="188"/>
                </a:lnTo>
                <a:lnTo>
                  <a:pt x="314" y="168"/>
                </a:lnTo>
                <a:lnTo>
                  <a:pt x="322" y="146"/>
                </a:lnTo>
                <a:lnTo>
                  <a:pt x="324" y="132"/>
                </a:lnTo>
                <a:lnTo>
                  <a:pt x="324" y="120"/>
                </a:lnTo>
                <a:lnTo>
                  <a:pt x="324" y="120"/>
                </a:lnTo>
                <a:lnTo>
                  <a:pt x="324" y="108"/>
                </a:lnTo>
                <a:lnTo>
                  <a:pt x="322" y="96"/>
                </a:lnTo>
                <a:lnTo>
                  <a:pt x="314" y="74"/>
                </a:lnTo>
                <a:lnTo>
                  <a:pt x="304" y="52"/>
                </a:lnTo>
                <a:lnTo>
                  <a:pt x="288" y="34"/>
                </a:lnTo>
                <a:lnTo>
                  <a:pt x="270" y="20"/>
                </a:lnTo>
                <a:lnTo>
                  <a:pt x="250" y="8"/>
                </a:lnTo>
                <a:lnTo>
                  <a:pt x="228" y="2"/>
                </a:lnTo>
                <a:lnTo>
                  <a:pt x="216" y="0"/>
                </a:lnTo>
                <a:lnTo>
                  <a:pt x="202" y="0"/>
                </a:lnTo>
                <a:lnTo>
                  <a:pt x="202" y="0"/>
                </a:lnTo>
                <a:close/>
                <a:moveTo>
                  <a:pt x="202" y="212"/>
                </a:moveTo>
                <a:lnTo>
                  <a:pt x="202" y="212"/>
                </a:lnTo>
                <a:lnTo>
                  <a:pt x="184" y="210"/>
                </a:lnTo>
                <a:lnTo>
                  <a:pt x="168" y="204"/>
                </a:lnTo>
                <a:lnTo>
                  <a:pt x="152" y="196"/>
                </a:lnTo>
                <a:lnTo>
                  <a:pt x="138" y="184"/>
                </a:lnTo>
                <a:lnTo>
                  <a:pt x="128" y="172"/>
                </a:lnTo>
                <a:lnTo>
                  <a:pt x="118" y="156"/>
                </a:lnTo>
                <a:lnTo>
                  <a:pt x="114" y="138"/>
                </a:lnTo>
                <a:lnTo>
                  <a:pt x="112" y="120"/>
                </a:lnTo>
                <a:lnTo>
                  <a:pt x="112" y="120"/>
                </a:lnTo>
                <a:lnTo>
                  <a:pt x="114" y="102"/>
                </a:lnTo>
                <a:lnTo>
                  <a:pt x="118" y="86"/>
                </a:lnTo>
                <a:lnTo>
                  <a:pt x="128" y="70"/>
                </a:lnTo>
                <a:lnTo>
                  <a:pt x="138" y="56"/>
                </a:lnTo>
                <a:lnTo>
                  <a:pt x="152" y="46"/>
                </a:lnTo>
                <a:lnTo>
                  <a:pt x="168" y="36"/>
                </a:lnTo>
                <a:lnTo>
                  <a:pt x="184" y="32"/>
                </a:lnTo>
                <a:lnTo>
                  <a:pt x="202" y="30"/>
                </a:lnTo>
                <a:lnTo>
                  <a:pt x="202" y="30"/>
                </a:lnTo>
                <a:lnTo>
                  <a:pt x="222" y="32"/>
                </a:lnTo>
                <a:lnTo>
                  <a:pt x="238" y="36"/>
                </a:lnTo>
                <a:lnTo>
                  <a:pt x="254" y="46"/>
                </a:lnTo>
                <a:lnTo>
                  <a:pt x="268" y="56"/>
                </a:lnTo>
                <a:lnTo>
                  <a:pt x="278" y="70"/>
                </a:lnTo>
                <a:lnTo>
                  <a:pt x="286" y="86"/>
                </a:lnTo>
                <a:lnTo>
                  <a:pt x="292" y="102"/>
                </a:lnTo>
                <a:lnTo>
                  <a:pt x="294" y="120"/>
                </a:lnTo>
                <a:lnTo>
                  <a:pt x="294" y="120"/>
                </a:lnTo>
                <a:lnTo>
                  <a:pt x="292" y="138"/>
                </a:lnTo>
                <a:lnTo>
                  <a:pt x="286" y="156"/>
                </a:lnTo>
                <a:lnTo>
                  <a:pt x="278" y="172"/>
                </a:lnTo>
                <a:lnTo>
                  <a:pt x="268" y="184"/>
                </a:lnTo>
                <a:lnTo>
                  <a:pt x="254" y="196"/>
                </a:lnTo>
                <a:lnTo>
                  <a:pt x="238" y="204"/>
                </a:lnTo>
                <a:lnTo>
                  <a:pt x="222" y="210"/>
                </a:lnTo>
                <a:lnTo>
                  <a:pt x="202" y="212"/>
                </a:lnTo>
                <a:lnTo>
                  <a:pt x="202" y="212"/>
                </a:lnTo>
                <a:close/>
                <a:moveTo>
                  <a:pt x="142" y="130"/>
                </a:moveTo>
                <a:lnTo>
                  <a:pt x="142" y="130"/>
                </a:lnTo>
                <a:lnTo>
                  <a:pt x="138" y="130"/>
                </a:lnTo>
                <a:lnTo>
                  <a:pt x="136" y="128"/>
                </a:lnTo>
                <a:lnTo>
                  <a:pt x="134" y="124"/>
                </a:lnTo>
                <a:lnTo>
                  <a:pt x="132" y="120"/>
                </a:lnTo>
                <a:lnTo>
                  <a:pt x="132" y="120"/>
                </a:lnTo>
                <a:lnTo>
                  <a:pt x="134" y="106"/>
                </a:lnTo>
                <a:lnTo>
                  <a:pt x="138" y="94"/>
                </a:lnTo>
                <a:lnTo>
                  <a:pt x="144" y="82"/>
                </a:lnTo>
                <a:lnTo>
                  <a:pt x="154" y="72"/>
                </a:lnTo>
                <a:lnTo>
                  <a:pt x="164" y="62"/>
                </a:lnTo>
                <a:lnTo>
                  <a:pt x="176" y="56"/>
                </a:lnTo>
                <a:lnTo>
                  <a:pt x="188" y="52"/>
                </a:lnTo>
                <a:lnTo>
                  <a:pt x="202" y="50"/>
                </a:lnTo>
                <a:lnTo>
                  <a:pt x="202" y="50"/>
                </a:lnTo>
                <a:lnTo>
                  <a:pt x="206" y="52"/>
                </a:lnTo>
                <a:lnTo>
                  <a:pt x="210" y="54"/>
                </a:lnTo>
                <a:lnTo>
                  <a:pt x="212" y="56"/>
                </a:lnTo>
                <a:lnTo>
                  <a:pt x="212" y="60"/>
                </a:lnTo>
                <a:lnTo>
                  <a:pt x="212" y="60"/>
                </a:lnTo>
                <a:lnTo>
                  <a:pt x="212" y="64"/>
                </a:lnTo>
                <a:lnTo>
                  <a:pt x="210" y="68"/>
                </a:lnTo>
                <a:lnTo>
                  <a:pt x="206" y="70"/>
                </a:lnTo>
                <a:lnTo>
                  <a:pt x="202" y="70"/>
                </a:lnTo>
                <a:lnTo>
                  <a:pt x="202" y="70"/>
                </a:lnTo>
                <a:lnTo>
                  <a:pt x="192" y="72"/>
                </a:lnTo>
                <a:lnTo>
                  <a:pt x="184" y="74"/>
                </a:lnTo>
                <a:lnTo>
                  <a:pt x="174" y="80"/>
                </a:lnTo>
                <a:lnTo>
                  <a:pt x="168" y="86"/>
                </a:lnTo>
                <a:lnTo>
                  <a:pt x="162" y="92"/>
                </a:lnTo>
                <a:lnTo>
                  <a:pt x="156" y="102"/>
                </a:lnTo>
                <a:lnTo>
                  <a:pt x="154" y="110"/>
                </a:lnTo>
                <a:lnTo>
                  <a:pt x="152" y="120"/>
                </a:lnTo>
                <a:lnTo>
                  <a:pt x="152" y="120"/>
                </a:lnTo>
                <a:lnTo>
                  <a:pt x="152" y="124"/>
                </a:lnTo>
                <a:lnTo>
                  <a:pt x="150" y="128"/>
                </a:lnTo>
                <a:lnTo>
                  <a:pt x="146" y="130"/>
                </a:lnTo>
                <a:lnTo>
                  <a:pt x="142" y="130"/>
                </a:lnTo>
                <a:lnTo>
                  <a:pt x="142" y="130"/>
                </a:lnTo>
                <a:close/>
                <a:moveTo>
                  <a:pt x="124" y="238"/>
                </a:moveTo>
                <a:lnTo>
                  <a:pt x="48" y="316"/>
                </a:lnTo>
                <a:lnTo>
                  <a:pt x="48" y="316"/>
                </a:lnTo>
                <a:lnTo>
                  <a:pt x="38" y="322"/>
                </a:lnTo>
                <a:lnTo>
                  <a:pt x="28" y="324"/>
                </a:lnTo>
                <a:lnTo>
                  <a:pt x="28" y="324"/>
                </a:lnTo>
                <a:lnTo>
                  <a:pt x="18" y="322"/>
                </a:lnTo>
                <a:lnTo>
                  <a:pt x="8" y="316"/>
                </a:lnTo>
                <a:lnTo>
                  <a:pt x="8" y="316"/>
                </a:lnTo>
                <a:lnTo>
                  <a:pt x="2" y="306"/>
                </a:lnTo>
                <a:lnTo>
                  <a:pt x="0" y="296"/>
                </a:lnTo>
                <a:lnTo>
                  <a:pt x="2" y="286"/>
                </a:lnTo>
                <a:lnTo>
                  <a:pt x="8" y="276"/>
                </a:lnTo>
                <a:lnTo>
                  <a:pt x="86" y="198"/>
                </a:lnTo>
                <a:lnTo>
                  <a:pt x="86" y="198"/>
                </a:lnTo>
                <a:lnTo>
                  <a:pt x="94" y="210"/>
                </a:lnTo>
                <a:lnTo>
                  <a:pt x="102" y="220"/>
                </a:lnTo>
                <a:lnTo>
                  <a:pt x="114" y="230"/>
                </a:lnTo>
                <a:lnTo>
                  <a:pt x="124" y="238"/>
                </a:lnTo>
                <a:lnTo>
                  <a:pt x="124" y="23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pic>
        <p:nvPicPr>
          <p:cNvPr id="23" name="Picture 2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119460" y="1741901"/>
            <a:ext cx="430456" cy="431210"/>
          </a:xfrm>
          <a:prstGeom prst="rect">
            <a:avLst/>
          </a:prstGeom>
        </p:spPr>
      </p:pic>
      <p:sp>
        <p:nvSpPr>
          <p:cNvPr id="5" name="Text Placeholder 4">
            <a:extLst>
              <a:ext uri="{FF2B5EF4-FFF2-40B4-BE49-F238E27FC236}">
                <a16:creationId xmlns:a16="http://schemas.microsoft.com/office/drawing/2014/main" id="{71AEBD0C-BABB-4D70-8CCE-264716A0C1C6}"/>
              </a:ext>
            </a:extLst>
          </p:cNvPr>
          <p:cNvSpPr>
            <a:spLocks noGrp="1"/>
          </p:cNvSpPr>
          <p:nvPr>
            <p:ph type="body" sz="quarter" idx="11"/>
          </p:nvPr>
        </p:nvSpPr>
        <p:spPr>
          <a:xfrm>
            <a:off x="396274" y="784810"/>
            <a:ext cx="9996051" cy="476805"/>
          </a:xfrm>
        </p:spPr>
        <p:txBody>
          <a:bodyPr/>
          <a:lstStyle/>
          <a:p>
            <a:pPr>
              <a:spcBef>
                <a:spcPts val="600"/>
              </a:spcBef>
            </a:pPr>
            <a:r>
              <a:rPr lang="en-US" sz="1600" dirty="0">
                <a:latin typeface="Calibri" panose="020F0502020204030204" pitchFamily="34" charset="0"/>
                <a:ea typeface="Times New Roman" panose="02020603050405020304" pitchFamily="18" charset="0"/>
                <a:cs typeface="Times New Roman" panose="02020603050405020304" pitchFamily="18" charset="0"/>
              </a:rPr>
              <a:t>Platform strategies are an approach to delivering business capabilities that drive down costs, accelerate transformation and improve consumer experience. Platforms combine business and IT capabilities to create a unified landscape of modular components with clearly defined roles and responsibilities. </a:t>
            </a:r>
          </a:p>
        </p:txBody>
      </p:sp>
    </p:spTree>
    <p:extLst>
      <p:ext uri="{BB962C8B-B14F-4D97-AF65-F5344CB8AC3E}">
        <p14:creationId xmlns:p14="http://schemas.microsoft.com/office/powerpoint/2010/main" val="4059423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1"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198" y="222212"/>
            <a:ext cx="9688623" cy="476805"/>
          </a:xfrm>
        </p:spPr>
        <p:txBody>
          <a:bodyPr/>
          <a:lstStyle/>
          <a:p>
            <a:r>
              <a:rPr lang="en-US" dirty="0">
                <a:latin typeface="Arial" panose="020B0604020202020204" pitchFamily="34" charset="0"/>
                <a:cs typeface="Arial" panose="020B0604020202020204" pitchFamily="34" charset="0"/>
                <a:sym typeface="Arial" panose="020B0604020202020204" pitchFamily="34" charset="0"/>
              </a:rPr>
              <a:t>Business Opportunity</a:t>
            </a:r>
          </a:p>
        </p:txBody>
      </p:sp>
      <p:sp>
        <p:nvSpPr>
          <p:cNvPr id="3" name="Text Placeholder 2"/>
          <p:cNvSpPr>
            <a:spLocks noGrp="1"/>
          </p:cNvSpPr>
          <p:nvPr>
            <p:ph type="body" sz="quarter" idx="11"/>
          </p:nvPr>
        </p:nvSpPr>
        <p:spPr>
          <a:xfrm>
            <a:off x="479808" y="636067"/>
            <a:ext cx="10159588" cy="886284"/>
          </a:xfrm>
        </p:spPr>
        <p:txBody>
          <a:bodyPr/>
          <a:lstStyle/>
          <a:p>
            <a:pPr>
              <a:spcBef>
                <a:spcPts val="600"/>
              </a:spcBef>
            </a:pPr>
            <a:r>
              <a:rPr lang="en-US" sz="1800" dirty="0">
                <a:latin typeface="Calibri" panose="020F0502020204030204" pitchFamily="34" charset="0"/>
                <a:ea typeface="Times New Roman" panose="02020603050405020304" pitchFamily="18" charset="0"/>
                <a:cs typeface="Times New Roman" panose="02020603050405020304" pitchFamily="18" charset="0"/>
              </a:rPr>
              <a:t>A full-fledged platform brings together business processes and IT systems in a first-class integrated fashion. Each platform can and will have multiple different underlying IT systems, each fulfilling their part of the overall platform capabilities.</a:t>
            </a:r>
          </a:p>
        </p:txBody>
      </p:sp>
      <p:sp>
        <p:nvSpPr>
          <p:cNvPr id="6" name="TextBox 5"/>
          <p:cNvSpPr txBox="1"/>
          <p:nvPr/>
        </p:nvSpPr>
        <p:spPr>
          <a:xfrm>
            <a:off x="257951" y="2394493"/>
            <a:ext cx="4517409" cy="3172054"/>
          </a:xfrm>
          <a:prstGeom prst="rect">
            <a:avLst/>
          </a:prstGeom>
          <a:solidFill>
            <a:schemeClr val="bg1"/>
          </a:solidFill>
        </p:spPr>
        <p:txBody>
          <a:bodyPr wrap="square" lIns="182880" tIns="0" rIns="182880" bIns="0" rtlCol="0" anchor="ctr">
            <a:noAutofit/>
          </a:bodyPr>
          <a:lstStyle/>
          <a:p>
            <a:pPr marL="146050" indent="-146050">
              <a:lnSpc>
                <a:spcPct val="110000"/>
              </a:lnSpc>
              <a:spcAft>
                <a:spcPts val="800"/>
              </a:spcAft>
              <a:buFont typeface="Arial" charset="0"/>
              <a:buChar char="•"/>
            </a:pPr>
            <a:r>
              <a:rPr lang="en-US" sz="1600" dirty="0">
                <a:solidFill>
                  <a:schemeClr val="tx1">
                    <a:lumMod val="75000"/>
                    <a:lumOff val="25000"/>
                  </a:schemeClr>
                </a:solidFill>
                <a:latin typeface="Arial" panose="020B0604020202020204" pitchFamily="34" charset="0"/>
                <a:ea typeface="Open Sans" charset="0"/>
                <a:cs typeface="Arial" panose="020B0604020202020204" pitchFamily="34" charset="0"/>
              </a:rPr>
              <a:t>There are duplicated clinical systems across the enterprise: over 10 Care Management/UM systems across the enterprise.  2 Member Incentive systems, 3 Population Health solutions, several customer engagement systems, </a:t>
            </a:r>
            <a:r>
              <a:rPr lang="en-US" sz="1600" dirty="0" err="1">
                <a:solidFill>
                  <a:schemeClr val="tx1">
                    <a:lumMod val="75000"/>
                    <a:lumOff val="25000"/>
                  </a:schemeClr>
                </a:solidFill>
                <a:latin typeface="Arial" panose="020B0604020202020204" pitchFamily="34" charset="0"/>
                <a:ea typeface="Open Sans" charset="0"/>
                <a:cs typeface="Arial" panose="020B0604020202020204" pitchFamily="34" charset="0"/>
              </a:rPr>
              <a:t>etc</a:t>
            </a:r>
            <a:endParaRPr lang="en-US" sz="1600" dirty="0">
              <a:solidFill>
                <a:schemeClr val="tx1">
                  <a:lumMod val="75000"/>
                  <a:lumOff val="25000"/>
                </a:schemeClr>
              </a:solidFill>
              <a:latin typeface="Arial" panose="020B0604020202020204" pitchFamily="34" charset="0"/>
              <a:ea typeface="Open Sans" charset="0"/>
              <a:cs typeface="Arial" panose="020B0604020202020204" pitchFamily="34" charset="0"/>
            </a:endParaRPr>
          </a:p>
          <a:p>
            <a:pPr marL="146050" indent="-146050">
              <a:lnSpc>
                <a:spcPct val="110000"/>
              </a:lnSpc>
              <a:spcAft>
                <a:spcPts val="800"/>
              </a:spcAft>
              <a:buFont typeface="Arial" charset="0"/>
              <a:buChar char="•"/>
            </a:pPr>
            <a:r>
              <a:rPr lang="en-US" sz="1600" dirty="0">
                <a:solidFill>
                  <a:schemeClr val="tx1">
                    <a:lumMod val="75000"/>
                    <a:lumOff val="25000"/>
                  </a:schemeClr>
                </a:solidFill>
                <a:latin typeface="Arial" panose="020B0604020202020204" pitchFamily="34" charset="0"/>
                <a:ea typeface="Open Sans" charset="0"/>
                <a:cs typeface="Arial" panose="020B0604020202020204" pitchFamily="34" charset="0"/>
              </a:rPr>
              <a:t>Business owners across the enterprise are frustrated in selecting clinical solutions for their business.</a:t>
            </a:r>
          </a:p>
          <a:p>
            <a:pPr marL="146050" indent="-146050">
              <a:lnSpc>
                <a:spcPct val="110000"/>
              </a:lnSpc>
              <a:spcAft>
                <a:spcPts val="800"/>
              </a:spcAft>
              <a:buFont typeface="Arial" charset="0"/>
              <a:buChar char="•"/>
            </a:pPr>
            <a:r>
              <a:rPr lang="en-US" sz="1600" dirty="0">
                <a:solidFill>
                  <a:schemeClr val="tx1">
                    <a:lumMod val="75000"/>
                    <a:lumOff val="25000"/>
                  </a:schemeClr>
                </a:solidFill>
                <a:latin typeface="Arial" panose="020B0604020202020204" pitchFamily="34" charset="0"/>
                <a:ea typeface="Open Sans" charset="0"/>
                <a:cs typeface="Arial" panose="020B0604020202020204" pitchFamily="34" charset="0"/>
              </a:rPr>
              <a:t>There are many conflicting clinical data integration methodologies and systems</a:t>
            </a:r>
          </a:p>
        </p:txBody>
      </p:sp>
      <p:cxnSp>
        <p:nvCxnSpPr>
          <p:cNvPr id="7" name="Straight Connector 6"/>
          <p:cNvCxnSpPr/>
          <p:nvPr/>
        </p:nvCxnSpPr>
        <p:spPr>
          <a:xfrm>
            <a:off x="673265" y="1901246"/>
            <a:ext cx="11107057" cy="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893635" y="1761287"/>
            <a:ext cx="2730137" cy="279918"/>
          </a:xfrm>
          <a:prstGeom prst="rect">
            <a:avLst/>
          </a:prstGeom>
          <a:solidFill>
            <a:schemeClr val="bg1"/>
          </a:solidFill>
        </p:spPr>
        <p:txBody>
          <a:bodyPr wrap="square" lIns="0" tIns="0" rIns="0" bIns="0" rtlCol="0">
            <a:noAutofit/>
          </a:bodyPr>
          <a:lstStyle/>
          <a:p>
            <a:pPr algn="ctr" defTabSz="456758" fontAlgn="base">
              <a:spcBef>
                <a:spcPts val="1200"/>
              </a:spcBef>
            </a:pPr>
            <a:r>
              <a:rPr lang="en-US" dirty="0">
                <a:solidFill>
                  <a:schemeClr val="tx2"/>
                </a:solidFill>
                <a:latin typeface="Arial" panose="020B0604020202020204" pitchFamily="34" charset="0"/>
                <a:cs typeface="Arial" panose="020B0604020202020204" pitchFamily="34" charset="0"/>
                <a:sym typeface="Arial" panose="020B0604020202020204" pitchFamily="34" charset="0"/>
              </a:rPr>
              <a:t>Opportunity Statement</a:t>
            </a:r>
          </a:p>
        </p:txBody>
      </p:sp>
      <p:sp>
        <p:nvSpPr>
          <p:cNvPr id="9" name="TextBox 8"/>
          <p:cNvSpPr txBox="1"/>
          <p:nvPr/>
        </p:nvSpPr>
        <p:spPr>
          <a:xfrm>
            <a:off x="6863498" y="1753225"/>
            <a:ext cx="1400993" cy="279918"/>
          </a:xfrm>
          <a:prstGeom prst="rect">
            <a:avLst/>
          </a:prstGeom>
          <a:solidFill>
            <a:schemeClr val="bg1"/>
          </a:solidFill>
        </p:spPr>
        <p:txBody>
          <a:bodyPr wrap="square" lIns="0" tIns="0" rIns="0" bIns="0" rtlCol="0">
            <a:noAutofit/>
          </a:bodyPr>
          <a:lstStyle/>
          <a:p>
            <a:pPr algn="ctr" defTabSz="456758" fontAlgn="base">
              <a:spcBef>
                <a:spcPts val="1200"/>
              </a:spcBef>
            </a:pPr>
            <a:r>
              <a:rPr lang="en-US" dirty="0">
                <a:solidFill>
                  <a:schemeClr val="tx2"/>
                </a:solidFill>
                <a:latin typeface="Arial" panose="020B0604020202020204" pitchFamily="34" charset="0"/>
                <a:cs typeface="Arial" panose="020B0604020202020204" pitchFamily="34" charset="0"/>
                <a:sym typeface="Arial" panose="020B0604020202020204" pitchFamily="34" charset="0"/>
              </a:rPr>
              <a:t>Overview</a:t>
            </a:r>
          </a:p>
        </p:txBody>
      </p:sp>
      <p:pic>
        <p:nvPicPr>
          <p:cNvPr id="27" name="Picture 2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628007" y="2571591"/>
            <a:ext cx="294706" cy="2817858"/>
          </a:xfrm>
          <a:prstGeom prst="rect">
            <a:avLst/>
          </a:prstGeom>
        </p:spPr>
      </p:pic>
      <p:pic>
        <p:nvPicPr>
          <p:cNvPr id="10" name="Picture 9">
            <a:extLst>
              <a:ext uri="{FF2B5EF4-FFF2-40B4-BE49-F238E27FC236}">
                <a16:creationId xmlns:a16="http://schemas.microsoft.com/office/drawing/2014/main" id="{CA2254B4-7894-4194-9BB0-61E4825AA459}"/>
              </a:ext>
            </a:extLst>
          </p:cNvPr>
          <p:cNvPicPr>
            <a:picLocks noChangeAspect="1"/>
          </p:cNvPicPr>
          <p:nvPr/>
        </p:nvPicPr>
        <p:blipFill>
          <a:blip r:embed="rId8"/>
          <a:stretch>
            <a:fillRect/>
          </a:stretch>
        </p:blipFill>
        <p:spPr>
          <a:xfrm>
            <a:off x="4922713" y="2181164"/>
            <a:ext cx="7233306" cy="3965247"/>
          </a:xfrm>
          <a:prstGeom prst="rect">
            <a:avLst/>
          </a:prstGeom>
        </p:spPr>
      </p:pic>
    </p:spTree>
    <p:extLst>
      <p:ext uri="{BB962C8B-B14F-4D97-AF65-F5344CB8AC3E}">
        <p14:creationId xmlns:p14="http://schemas.microsoft.com/office/powerpoint/2010/main" val="20005238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CC489-3CCA-4BDA-9BE9-75193C5BF541}"/>
              </a:ext>
            </a:extLst>
          </p:cNvPr>
          <p:cNvSpPr>
            <a:spLocks noGrp="1"/>
          </p:cNvSpPr>
          <p:nvPr>
            <p:ph type="title"/>
          </p:nvPr>
        </p:nvSpPr>
        <p:spPr/>
        <p:txBody>
          <a:bodyPr/>
          <a:lstStyle/>
          <a:p>
            <a:r>
              <a:rPr lang="en-US" dirty="0"/>
              <a:t>Lines of Business Care Model</a:t>
            </a:r>
          </a:p>
        </p:txBody>
      </p:sp>
      <p:pic>
        <p:nvPicPr>
          <p:cNvPr id="4" name="Picture 3">
            <a:extLst>
              <a:ext uri="{FF2B5EF4-FFF2-40B4-BE49-F238E27FC236}">
                <a16:creationId xmlns:a16="http://schemas.microsoft.com/office/drawing/2014/main" id="{3E1224BE-AEDA-428D-96A7-6C6F5F5A0DA7}"/>
              </a:ext>
            </a:extLst>
          </p:cNvPr>
          <p:cNvPicPr>
            <a:picLocks noChangeAspect="1"/>
          </p:cNvPicPr>
          <p:nvPr/>
        </p:nvPicPr>
        <p:blipFill>
          <a:blip r:embed="rId3"/>
          <a:stretch>
            <a:fillRect/>
          </a:stretch>
        </p:blipFill>
        <p:spPr>
          <a:xfrm>
            <a:off x="0" y="2264908"/>
            <a:ext cx="11963572" cy="3105377"/>
          </a:xfrm>
          <a:prstGeom prst="rect">
            <a:avLst/>
          </a:prstGeom>
        </p:spPr>
      </p:pic>
    </p:spTree>
    <p:extLst>
      <p:ext uri="{BB962C8B-B14F-4D97-AF65-F5344CB8AC3E}">
        <p14:creationId xmlns:p14="http://schemas.microsoft.com/office/powerpoint/2010/main" val="33460136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508"/>
        <p:cNvGrpSpPr/>
        <p:nvPr/>
      </p:nvGrpSpPr>
      <p:grpSpPr>
        <a:xfrm>
          <a:off x="0" y="0"/>
          <a:ext cx="0" cy="0"/>
          <a:chOff x="0" y="0"/>
          <a:chExt cx="0" cy="0"/>
        </a:xfrm>
      </p:grpSpPr>
      <p:pic>
        <p:nvPicPr>
          <p:cNvPr id="5" name="Picture 4">
            <a:extLst>
              <a:ext uri="{FF2B5EF4-FFF2-40B4-BE49-F238E27FC236}">
                <a16:creationId xmlns:a16="http://schemas.microsoft.com/office/drawing/2014/main" id="{DD2B24E2-BE9C-4C11-8770-04644FA19450}"/>
              </a:ext>
            </a:extLst>
          </p:cNvPr>
          <p:cNvPicPr>
            <a:picLocks noChangeAspect="1"/>
          </p:cNvPicPr>
          <p:nvPr/>
        </p:nvPicPr>
        <p:blipFill>
          <a:blip r:embed="rId3"/>
          <a:stretch>
            <a:fillRect/>
          </a:stretch>
        </p:blipFill>
        <p:spPr>
          <a:xfrm>
            <a:off x="4331756" y="2469075"/>
            <a:ext cx="3562350" cy="3086100"/>
          </a:xfrm>
          <a:prstGeom prst="rect">
            <a:avLst/>
          </a:prstGeom>
        </p:spPr>
      </p:pic>
      <p:cxnSp>
        <p:nvCxnSpPr>
          <p:cNvPr id="3" name="Straight Arrow Connector 2">
            <a:extLst>
              <a:ext uri="{FF2B5EF4-FFF2-40B4-BE49-F238E27FC236}">
                <a16:creationId xmlns:a16="http://schemas.microsoft.com/office/drawing/2014/main" id="{24E83997-91AB-4574-A97D-AB4AFC2D99D7}"/>
              </a:ext>
            </a:extLst>
          </p:cNvPr>
          <p:cNvCxnSpPr>
            <a:cxnSpLocks/>
            <a:endCxn id="46" idx="3"/>
          </p:cNvCxnSpPr>
          <p:nvPr/>
        </p:nvCxnSpPr>
        <p:spPr>
          <a:xfrm>
            <a:off x="4678449" y="2320152"/>
            <a:ext cx="3646283" cy="282381"/>
          </a:xfrm>
          <a:prstGeom prst="straightConnector1">
            <a:avLst/>
          </a:prstGeom>
          <a:ln w="19050" cmpd="sng">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9AB37D9B-35AE-4389-993F-2B1D8ED516ED}"/>
              </a:ext>
            </a:extLst>
          </p:cNvPr>
          <p:cNvCxnSpPr>
            <a:cxnSpLocks/>
            <a:stCxn id="51" idx="2"/>
          </p:cNvCxnSpPr>
          <p:nvPr/>
        </p:nvCxnSpPr>
        <p:spPr>
          <a:xfrm flipH="1" flipV="1">
            <a:off x="4127145" y="2468282"/>
            <a:ext cx="4619398" cy="2130462"/>
          </a:xfrm>
          <a:prstGeom prst="straightConnector1">
            <a:avLst/>
          </a:prstGeom>
          <a:ln w="19050" cmpd="sng">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E44F8143-768C-4BF9-84A8-2873DD0CBA8E}"/>
              </a:ext>
            </a:extLst>
          </p:cNvPr>
          <p:cNvCxnSpPr>
            <a:cxnSpLocks/>
          </p:cNvCxnSpPr>
          <p:nvPr/>
        </p:nvCxnSpPr>
        <p:spPr>
          <a:xfrm>
            <a:off x="3525581" y="2480497"/>
            <a:ext cx="421760" cy="2677141"/>
          </a:xfrm>
          <a:prstGeom prst="straightConnector1">
            <a:avLst/>
          </a:prstGeom>
          <a:ln w="19050" cmpd="sng">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7E455670-74C2-485B-BA3E-591B6AFF5589}"/>
              </a:ext>
            </a:extLst>
          </p:cNvPr>
          <p:cNvCxnSpPr>
            <a:cxnSpLocks/>
          </p:cNvCxnSpPr>
          <p:nvPr/>
        </p:nvCxnSpPr>
        <p:spPr>
          <a:xfrm flipV="1">
            <a:off x="3312084" y="2448848"/>
            <a:ext cx="4747707" cy="828929"/>
          </a:xfrm>
          <a:prstGeom prst="straightConnector1">
            <a:avLst/>
          </a:prstGeom>
          <a:ln w="19050" cmpd="sng">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5" name="Title 1">
            <a:extLst>
              <a:ext uri="{FF2B5EF4-FFF2-40B4-BE49-F238E27FC236}">
                <a16:creationId xmlns:a16="http://schemas.microsoft.com/office/drawing/2014/main" id="{47045489-8BE2-4C2A-8A2F-4532E839FB72}"/>
              </a:ext>
            </a:extLst>
          </p:cNvPr>
          <p:cNvSpPr txBox="1">
            <a:spLocks/>
          </p:cNvSpPr>
          <p:nvPr/>
        </p:nvSpPr>
        <p:spPr>
          <a:xfrm>
            <a:off x="224211" y="152805"/>
            <a:ext cx="11190232" cy="348343"/>
          </a:xfrm>
          <a:prstGeom prst="rect">
            <a:avLst/>
          </a:prstGeom>
        </p:spPr>
        <p:txBody>
          <a:bodyPr vert="horz" lIns="0" tIns="0" rIns="0" bIns="0" rtlCol="0" anchor="t" anchorCtr="0">
            <a:noAutofit/>
          </a:bodyPr>
          <a:lstStyle>
            <a:lvl1pPr algn="l" defTabSz="912732" rtl="0" eaLnBrk="1" latinLnBrk="0" hangingPunct="1">
              <a:lnSpc>
                <a:spcPct val="90000"/>
              </a:lnSpc>
              <a:spcBef>
                <a:spcPct val="0"/>
              </a:spcBef>
              <a:buNone/>
              <a:defRPr sz="3000" b="1" i="0" kern="120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Clinical Data Sharing Current State View</a:t>
            </a:r>
            <a:endParaRPr lang="en-US" b="0" i="1" dirty="0"/>
          </a:p>
        </p:txBody>
      </p:sp>
      <p:cxnSp>
        <p:nvCxnSpPr>
          <p:cNvPr id="47" name="Straight Arrow Connector 46">
            <a:extLst>
              <a:ext uri="{FF2B5EF4-FFF2-40B4-BE49-F238E27FC236}">
                <a16:creationId xmlns:a16="http://schemas.microsoft.com/office/drawing/2014/main" id="{E1D7EF08-39EF-4B20-B921-22E279DDEA7D}"/>
              </a:ext>
            </a:extLst>
          </p:cNvPr>
          <p:cNvCxnSpPr>
            <a:cxnSpLocks/>
          </p:cNvCxnSpPr>
          <p:nvPr/>
        </p:nvCxnSpPr>
        <p:spPr>
          <a:xfrm>
            <a:off x="3647289" y="4255082"/>
            <a:ext cx="3909701" cy="1286783"/>
          </a:xfrm>
          <a:prstGeom prst="straightConnector1">
            <a:avLst/>
          </a:prstGeom>
          <a:ln w="19050" cmpd="sng">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B0387A47-241A-4C05-B636-AF100052C07C}"/>
              </a:ext>
            </a:extLst>
          </p:cNvPr>
          <p:cNvCxnSpPr>
            <a:cxnSpLocks/>
            <a:stCxn id="37" idx="6"/>
          </p:cNvCxnSpPr>
          <p:nvPr/>
        </p:nvCxnSpPr>
        <p:spPr>
          <a:xfrm flipV="1">
            <a:off x="3766210" y="2715026"/>
            <a:ext cx="4659582" cy="1770896"/>
          </a:xfrm>
          <a:prstGeom prst="straightConnector1">
            <a:avLst/>
          </a:prstGeom>
          <a:ln w="19050" cmpd="sng">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1717BD56-3EC3-44C2-AD60-2C16E9E47250}"/>
              </a:ext>
            </a:extLst>
          </p:cNvPr>
          <p:cNvCxnSpPr>
            <a:cxnSpLocks/>
            <a:stCxn id="42" idx="6"/>
            <a:endCxn id="44" idx="1"/>
          </p:cNvCxnSpPr>
          <p:nvPr/>
        </p:nvCxnSpPr>
        <p:spPr>
          <a:xfrm flipV="1">
            <a:off x="4792533" y="5608572"/>
            <a:ext cx="473869" cy="6266"/>
          </a:xfrm>
          <a:prstGeom prst="straightConnector1">
            <a:avLst/>
          </a:prstGeom>
          <a:ln w="19050" cmpd="sng">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2A8E3168-86E2-4C29-B728-886133B975AE}"/>
              </a:ext>
            </a:extLst>
          </p:cNvPr>
          <p:cNvCxnSpPr>
            <a:cxnSpLocks/>
          </p:cNvCxnSpPr>
          <p:nvPr/>
        </p:nvCxnSpPr>
        <p:spPr>
          <a:xfrm>
            <a:off x="3193163" y="3390270"/>
            <a:ext cx="5688429" cy="94025"/>
          </a:xfrm>
          <a:prstGeom prst="straightConnector1">
            <a:avLst/>
          </a:prstGeom>
          <a:ln w="19050" cmpd="sng">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F02E6F1E-8CE5-447A-8CEE-07AB9F87F599}"/>
              </a:ext>
            </a:extLst>
          </p:cNvPr>
          <p:cNvCxnSpPr>
            <a:cxnSpLocks/>
          </p:cNvCxnSpPr>
          <p:nvPr/>
        </p:nvCxnSpPr>
        <p:spPr>
          <a:xfrm flipH="1" flipV="1">
            <a:off x="3047143" y="3533513"/>
            <a:ext cx="5762046" cy="1182512"/>
          </a:xfrm>
          <a:prstGeom prst="straightConnector1">
            <a:avLst/>
          </a:prstGeom>
          <a:ln w="19050" cmpd="sng">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85ACFAB9-FFB4-448A-B69B-5A1A6EEFE635}"/>
              </a:ext>
            </a:extLst>
          </p:cNvPr>
          <p:cNvCxnSpPr>
            <a:cxnSpLocks/>
          </p:cNvCxnSpPr>
          <p:nvPr/>
        </p:nvCxnSpPr>
        <p:spPr>
          <a:xfrm flipH="1" flipV="1">
            <a:off x="4308680" y="2399017"/>
            <a:ext cx="1619486" cy="3075644"/>
          </a:xfrm>
          <a:prstGeom prst="straightConnector1">
            <a:avLst/>
          </a:prstGeom>
          <a:ln w="19050" cmpd="sng">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CA864B4D-642D-4446-AEAC-6E4807204C26}"/>
              </a:ext>
            </a:extLst>
          </p:cNvPr>
          <p:cNvCxnSpPr>
            <a:cxnSpLocks/>
          </p:cNvCxnSpPr>
          <p:nvPr/>
        </p:nvCxnSpPr>
        <p:spPr>
          <a:xfrm>
            <a:off x="4284936" y="2494557"/>
            <a:ext cx="4533081" cy="1921705"/>
          </a:xfrm>
          <a:prstGeom prst="straightConnector1">
            <a:avLst/>
          </a:prstGeom>
          <a:ln w="19050" cmpd="sng">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8A4C317F-B16C-4256-84DA-8FE1985FEF84}"/>
              </a:ext>
            </a:extLst>
          </p:cNvPr>
          <p:cNvCxnSpPr>
            <a:cxnSpLocks/>
          </p:cNvCxnSpPr>
          <p:nvPr/>
        </p:nvCxnSpPr>
        <p:spPr>
          <a:xfrm flipV="1">
            <a:off x="4308680" y="3628872"/>
            <a:ext cx="4714006" cy="2128051"/>
          </a:xfrm>
          <a:prstGeom prst="straightConnector1">
            <a:avLst/>
          </a:prstGeom>
          <a:ln w="19050" cmpd="sng">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AEA3F44F-1700-4AB8-8895-0F190602EAE3}"/>
              </a:ext>
            </a:extLst>
          </p:cNvPr>
          <p:cNvCxnSpPr>
            <a:cxnSpLocks/>
            <a:endCxn id="39" idx="2"/>
          </p:cNvCxnSpPr>
          <p:nvPr/>
        </p:nvCxnSpPr>
        <p:spPr>
          <a:xfrm>
            <a:off x="4300081" y="2093288"/>
            <a:ext cx="4581511" cy="1270340"/>
          </a:xfrm>
          <a:prstGeom prst="straightConnector1">
            <a:avLst/>
          </a:prstGeom>
          <a:ln w="19050" cmpd="sng">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8017AD15-2012-4CA1-8903-CE885710C17E}"/>
              </a:ext>
            </a:extLst>
          </p:cNvPr>
          <p:cNvCxnSpPr>
            <a:cxnSpLocks/>
          </p:cNvCxnSpPr>
          <p:nvPr/>
        </p:nvCxnSpPr>
        <p:spPr>
          <a:xfrm>
            <a:off x="4386400" y="2331813"/>
            <a:ext cx="3170590" cy="3142848"/>
          </a:xfrm>
          <a:prstGeom prst="straightConnector1">
            <a:avLst/>
          </a:prstGeom>
          <a:ln w="19050" cmpd="sng">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CAD75127-F88E-477E-900D-20866FF76EF4}"/>
              </a:ext>
            </a:extLst>
          </p:cNvPr>
          <p:cNvCxnSpPr>
            <a:cxnSpLocks/>
            <a:endCxn id="38" idx="2"/>
          </p:cNvCxnSpPr>
          <p:nvPr/>
        </p:nvCxnSpPr>
        <p:spPr>
          <a:xfrm>
            <a:off x="4775968" y="1938980"/>
            <a:ext cx="618372" cy="46136"/>
          </a:xfrm>
          <a:prstGeom prst="straightConnector1">
            <a:avLst/>
          </a:prstGeom>
          <a:ln w="19050" cmpd="sng">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A170022A-F3AF-4184-9E76-B88A46C5CFB1}"/>
              </a:ext>
            </a:extLst>
          </p:cNvPr>
          <p:cNvCxnSpPr>
            <a:cxnSpLocks/>
          </p:cNvCxnSpPr>
          <p:nvPr/>
        </p:nvCxnSpPr>
        <p:spPr>
          <a:xfrm>
            <a:off x="4347582" y="2331813"/>
            <a:ext cx="3481939" cy="2998271"/>
          </a:xfrm>
          <a:prstGeom prst="straightConnector1">
            <a:avLst/>
          </a:prstGeom>
          <a:ln w="19050" cmpd="sng">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 name="Oval 5">
            <a:extLst>
              <a:ext uri="{FF2B5EF4-FFF2-40B4-BE49-F238E27FC236}">
                <a16:creationId xmlns:a16="http://schemas.microsoft.com/office/drawing/2014/main" id="{3BAFC6A7-A390-489B-B758-963E07F641E6}"/>
              </a:ext>
            </a:extLst>
          </p:cNvPr>
          <p:cNvSpPr/>
          <p:nvPr/>
        </p:nvSpPr>
        <p:spPr>
          <a:xfrm>
            <a:off x="2580976" y="1603268"/>
            <a:ext cx="2223374" cy="9144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FFFFFF"/>
              </a:buClr>
              <a:buSzPct val="25000"/>
              <a:defRPr/>
            </a:pPr>
            <a:r>
              <a:rPr lang="en-GB" sz="1270" b="1" i="1" dirty="0" err="1">
                <a:solidFill>
                  <a:srgbClr val="FFFFFF"/>
                </a:solidFill>
                <a:latin typeface="Georgia"/>
                <a:sym typeface="Georgia"/>
              </a:rPr>
              <a:t>MedCompass</a:t>
            </a:r>
            <a:endParaRPr lang="en-GB" sz="1270" b="1" i="1" dirty="0">
              <a:solidFill>
                <a:srgbClr val="FFFFFF"/>
              </a:solidFill>
              <a:latin typeface="Georgia"/>
              <a:sym typeface="Georgia"/>
            </a:endParaRPr>
          </a:p>
        </p:txBody>
      </p:sp>
      <p:sp>
        <p:nvSpPr>
          <p:cNvPr id="37" name="Oval 36">
            <a:extLst>
              <a:ext uri="{FF2B5EF4-FFF2-40B4-BE49-F238E27FC236}">
                <a16:creationId xmlns:a16="http://schemas.microsoft.com/office/drawing/2014/main" id="{93C40DAC-1569-4FB4-A98B-3A3774E94EF1}"/>
              </a:ext>
            </a:extLst>
          </p:cNvPr>
          <p:cNvSpPr/>
          <p:nvPr/>
        </p:nvSpPr>
        <p:spPr>
          <a:xfrm>
            <a:off x="1542836" y="4028722"/>
            <a:ext cx="2223374" cy="9144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FFFFFF"/>
              </a:buClr>
              <a:buSzPct val="25000"/>
              <a:defRPr/>
            </a:pPr>
            <a:r>
              <a:rPr lang="en-GB" sz="1270" b="1" i="1" dirty="0" err="1">
                <a:solidFill>
                  <a:srgbClr val="FFFFFF"/>
                </a:solidFill>
                <a:latin typeface="Georgia"/>
                <a:ea typeface="Georgia"/>
                <a:cs typeface="Georgia"/>
                <a:sym typeface="Georgia"/>
              </a:rPr>
              <a:t>CareUnify</a:t>
            </a:r>
            <a:endParaRPr lang="en-GB" sz="1270" b="1" i="1" dirty="0">
              <a:solidFill>
                <a:srgbClr val="FFFFFF"/>
              </a:solidFill>
              <a:latin typeface="Georgia"/>
              <a:ea typeface="Georgia"/>
              <a:cs typeface="Georgia"/>
              <a:sym typeface="Georgia"/>
            </a:endParaRPr>
          </a:p>
          <a:p>
            <a:pPr algn="ctr">
              <a:buClr>
                <a:srgbClr val="FFFFFF"/>
              </a:buClr>
              <a:buSzPct val="25000"/>
              <a:defRPr/>
            </a:pPr>
            <a:endParaRPr lang="en-GB" sz="1270" b="1" i="1" dirty="0">
              <a:solidFill>
                <a:srgbClr val="FFFFFF"/>
              </a:solidFill>
              <a:latin typeface="Georgia"/>
              <a:sym typeface="Georgia"/>
            </a:endParaRPr>
          </a:p>
        </p:txBody>
      </p:sp>
      <p:sp>
        <p:nvSpPr>
          <p:cNvPr id="38" name="Oval 37">
            <a:extLst>
              <a:ext uri="{FF2B5EF4-FFF2-40B4-BE49-F238E27FC236}">
                <a16:creationId xmlns:a16="http://schemas.microsoft.com/office/drawing/2014/main" id="{BA5227F9-3E8E-42E9-A3C6-B36F5E9765FD}"/>
              </a:ext>
            </a:extLst>
          </p:cNvPr>
          <p:cNvSpPr/>
          <p:nvPr/>
        </p:nvSpPr>
        <p:spPr>
          <a:xfrm>
            <a:off x="5394340" y="1527916"/>
            <a:ext cx="2223374" cy="9144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FFFFFF"/>
              </a:buClr>
              <a:buSzPct val="25000"/>
              <a:defRPr/>
            </a:pPr>
            <a:r>
              <a:rPr lang="en-GB" sz="1270" b="1" i="1" dirty="0">
                <a:solidFill>
                  <a:srgbClr val="FFFFFF"/>
                </a:solidFill>
                <a:latin typeface="Georgia"/>
                <a:ea typeface="Georgia"/>
                <a:cs typeface="Georgia"/>
                <a:sym typeface="Georgia"/>
              </a:rPr>
              <a:t>Care Everywhere</a:t>
            </a:r>
          </a:p>
          <a:p>
            <a:pPr algn="ctr">
              <a:buClr>
                <a:srgbClr val="FFFFFF"/>
              </a:buClr>
              <a:buSzPct val="25000"/>
              <a:defRPr/>
            </a:pPr>
            <a:endParaRPr lang="en-GB" sz="1270" b="1" i="1" dirty="0">
              <a:solidFill>
                <a:srgbClr val="FFFFFF"/>
              </a:solidFill>
              <a:latin typeface="Georgia"/>
              <a:sym typeface="Georgia"/>
            </a:endParaRPr>
          </a:p>
        </p:txBody>
      </p:sp>
      <p:sp>
        <p:nvSpPr>
          <p:cNvPr id="39" name="Oval 38">
            <a:extLst>
              <a:ext uri="{FF2B5EF4-FFF2-40B4-BE49-F238E27FC236}">
                <a16:creationId xmlns:a16="http://schemas.microsoft.com/office/drawing/2014/main" id="{4EEC0893-9C06-415C-AEAA-0573D4A33264}"/>
              </a:ext>
            </a:extLst>
          </p:cNvPr>
          <p:cNvSpPr/>
          <p:nvPr/>
        </p:nvSpPr>
        <p:spPr>
          <a:xfrm>
            <a:off x="8881592" y="2906428"/>
            <a:ext cx="2223374" cy="9144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FFFFFF"/>
              </a:buClr>
              <a:buSzPct val="25000"/>
              <a:defRPr/>
            </a:pPr>
            <a:r>
              <a:rPr lang="en-GB" sz="1270" b="1" i="1" dirty="0">
                <a:solidFill>
                  <a:srgbClr val="FFFFFF"/>
                </a:solidFill>
                <a:latin typeface="Georgia"/>
                <a:ea typeface="Georgia"/>
                <a:cs typeface="Georgia"/>
                <a:sym typeface="Georgia"/>
              </a:rPr>
              <a:t>UDF</a:t>
            </a:r>
          </a:p>
          <a:p>
            <a:pPr algn="ctr">
              <a:buClr>
                <a:srgbClr val="FFFFFF"/>
              </a:buClr>
              <a:buSzPct val="25000"/>
              <a:defRPr/>
            </a:pPr>
            <a:endParaRPr lang="en-GB" sz="1270" b="1" i="1" dirty="0">
              <a:solidFill>
                <a:srgbClr val="FFFFFF"/>
              </a:solidFill>
              <a:latin typeface="Georgia"/>
              <a:sym typeface="Georgia"/>
            </a:endParaRPr>
          </a:p>
        </p:txBody>
      </p:sp>
      <p:sp>
        <p:nvSpPr>
          <p:cNvPr id="41" name="Oval 40">
            <a:extLst>
              <a:ext uri="{FF2B5EF4-FFF2-40B4-BE49-F238E27FC236}">
                <a16:creationId xmlns:a16="http://schemas.microsoft.com/office/drawing/2014/main" id="{150BE7DD-1307-4D5D-9479-FB8AC8E3751A}"/>
              </a:ext>
            </a:extLst>
          </p:cNvPr>
          <p:cNvSpPr/>
          <p:nvPr/>
        </p:nvSpPr>
        <p:spPr>
          <a:xfrm>
            <a:off x="988463" y="2820577"/>
            <a:ext cx="2223374" cy="9144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FFFFFF"/>
              </a:buClr>
              <a:buSzPct val="25000"/>
              <a:defRPr/>
            </a:pPr>
            <a:r>
              <a:rPr lang="en-GB" sz="1270" b="1" i="1" dirty="0" err="1">
                <a:solidFill>
                  <a:srgbClr val="FFFFFF"/>
                </a:solidFill>
                <a:latin typeface="Georgia"/>
                <a:sym typeface="Georgia"/>
              </a:rPr>
              <a:t>DataLink</a:t>
            </a:r>
            <a:endParaRPr lang="en-GB" sz="1270" b="1" i="1" dirty="0">
              <a:solidFill>
                <a:srgbClr val="FFFFFF"/>
              </a:solidFill>
              <a:latin typeface="Georgia"/>
              <a:sym typeface="Georgia"/>
            </a:endParaRPr>
          </a:p>
        </p:txBody>
      </p:sp>
      <p:sp>
        <p:nvSpPr>
          <p:cNvPr id="42" name="Oval 41">
            <a:extLst>
              <a:ext uri="{FF2B5EF4-FFF2-40B4-BE49-F238E27FC236}">
                <a16:creationId xmlns:a16="http://schemas.microsoft.com/office/drawing/2014/main" id="{059573D1-74C3-4F68-830A-23CF5993BE9E}"/>
              </a:ext>
            </a:extLst>
          </p:cNvPr>
          <p:cNvSpPr/>
          <p:nvPr/>
        </p:nvSpPr>
        <p:spPr>
          <a:xfrm>
            <a:off x="2569159" y="5157638"/>
            <a:ext cx="2223374" cy="914400"/>
          </a:xfrm>
          <a:prstGeom prst="ellipse">
            <a:avLst/>
          </a:prstGeom>
          <a:solidFill>
            <a:srgbClr val="DC6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FFFFFF"/>
              </a:buClr>
              <a:buSzPct val="25000"/>
              <a:defRPr/>
            </a:pPr>
            <a:r>
              <a:rPr lang="en-GB" sz="1270" b="1" i="1" dirty="0">
                <a:solidFill>
                  <a:srgbClr val="FFFFFF"/>
                </a:solidFill>
                <a:latin typeface="Georgia"/>
                <a:sym typeface="Georgia"/>
              </a:rPr>
              <a:t>MinuteClinic (Epic)</a:t>
            </a:r>
          </a:p>
        </p:txBody>
      </p:sp>
      <p:sp>
        <p:nvSpPr>
          <p:cNvPr id="44" name="Oval 43">
            <a:extLst>
              <a:ext uri="{FF2B5EF4-FFF2-40B4-BE49-F238E27FC236}">
                <a16:creationId xmlns:a16="http://schemas.microsoft.com/office/drawing/2014/main" id="{7F0AEE98-8F0D-45BE-91B3-B9B0275E1DCD}"/>
              </a:ext>
            </a:extLst>
          </p:cNvPr>
          <p:cNvSpPr/>
          <p:nvPr/>
        </p:nvSpPr>
        <p:spPr>
          <a:xfrm>
            <a:off x="4940796" y="5474661"/>
            <a:ext cx="2223374" cy="914400"/>
          </a:xfrm>
          <a:prstGeom prst="ellipse">
            <a:avLst/>
          </a:prstGeom>
          <a:solidFill>
            <a:srgbClr val="EB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FFFFFF"/>
              </a:buClr>
              <a:buSzPct val="25000"/>
              <a:defRPr/>
            </a:pPr>
            <a:r>
              <a:rPr lang="en-GB" sz="1270" b="1" i="1" dirty="0">
                <a:solidFill>
                  <a:srgbClr val="FFFFFF"/>
                </a:solidFill>
                <a:latin typeface="Georgia"/>
                <a:sym typeface="Georgia"/>
              </a:rPr>
              <a:t>Accordant (Epic)</a:t>
            </a:r>
          </a:p>
        </p:txBody>
      </p:sp>
      <p:sp>
        <p:nvSpPr>
          <p:cNvPr id="46" name="Oval 45">
            <a:extLst>
              <a:ext uri="{FF2B5EF4-FFF2-40B4-BE49-F238E27FC236}">
                <a16:creationId xmlns:a16="http://schemas.microsoft.com/office/drawing/2014/main" id="{D587C9AD-01E3-42ED-959B-317E0282EE83}"/>
              </a:ext>
            </a:extLst>
          </p:cNvPr>
          <p:cNvSpPr/>
          <p:nvPr/>
        </p:nvSpPr>
        <p:spPr>
          <a:xfrm>
            <a:off x="7999126" y="1822044"/>
            <a:ext cx="2223374" cy="9144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FFFFFF"/>
              </a:buClr>
              <a:buSzPct val="25000"/>
              <a:defRPr/>
            </a:pPr>
            <a:r>
              <a:rPr lang="en-GB" sz="1270" b="1" i="1" dirty="0">
                <a:solidFill>
                  <a:srgbClr val="FFFFFF"/>
                </a:solidFill>
                <a:latin typeface="Georgia"/>
                <a:sym typeface="Georgia"/>
              </a:rPr>
              <a:t>Cerner EMR</a:t>
            </a:r>
          </a:p>
        </p:txBody>
      </p:sp>
      <p:sp>
        <p:nvSpPr>
          <p:cNvPr id="51" name="Oval 50">
            <a:extLst>
              <a:ext uri="{FF2B5EF4-FFF2-40B4-BE49-F238E27FC236}">
                <a16:creationId xmlns:a16="http://schemas.microsoft.com/office/drawing/2014/main" id="{6C3B7445-263C-4215-A3B8-0417622EBCAC}"/>
              </a:ext>
            </a:extLst>
          </p:cNvPr>
          <p:cNvSpPr/>
          <p:nvPr/>
        </p:nvSpPr>
        <p:spPr>
          <a:xfrm>
            <a:off x="8746543" y="4141544"/>
            <a:ext cx="2223374" cy="914400"/>
          </a:xfrm>
          <a:prstGeom prst="ellipse">
            <a:avLst/>
          </a:prstGeom>
          <a:solidFill>
            <a:srgbClr val="DC6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FFFFFF"/>
              </a:buClr>
              <a:buSzPct val="25000"/>
              <a:defRPr/>
            </a:pPr>
            <a:r>
              <a:rPr lang="en-GB" sz="1270" b="1" i="1" dirty="0">
                <a:solidFill>
                  <a:srgbClr val="FFFFFF"/>
                </a:solidFill>
                <a:latin typeface="Georgia"/>
                <a:sym typeface="Georgia"/>
              </a:rPr>
              <a:t>Availity</a:t>
            </a:r>
          </a:p>
        </p:txBody>
      </p:sp>
      <p:sp>
        <p:nvSpPr>
          <p:cNvPr id="52" name="Oval 51">
            <a:extLst>
              <a:ext uri="{FF2B5EF4-FFF2-40B4-BE49-F238E27FC236}">
                <a16:creationId xmlns:a16="http://schemas.microsoft.com/office/drawing/2014/main" id="{AA0ED8A4-D6FA-47CB-8DDF-54C21C98E0AF}"/>
              </a:ext>
            </a:extLst>
          </p:cNvPr>
          <p:cNvSpPr/>
          <p:nvPr/>
        </p:nvSpPr>
        <p:spPr>
          <a:xfrm>
            <a:off x="7486443" y="5226271"/>
            <a:ext cx="2223374" cy="914400"/>
          </a:xfrm>
          <a:prstGeom prst="ellipse">
            <a:avLst/>
          </a:prstGeom>
          <a:solidFill>
            <a:srgbClr val="EB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FFFFFF"/>
              </a:buClr>
              <a:buSzPct val="25000"/>
              <a:defRPr/>
            </a:pPr>
            <a:r>
              <a:rPr lang="en-GB" sz="1200" b="1" i="1" dirty="0">
                <a:solidFill>
                  <a:srgbClr val="FFFFFF"/>
                </a:solidFill>
                <a:latin typeface="Georgia"/>
                <a:ea typeface="Georgia"/>
                <a:cs typeface="Georgia"/>
                <a:sym typeface="Georgia"/>
              </a:rPr>
              <a:t>Separate EMR Business Requests </a:t>
            </a:r>
            <a:r>
              <a:rPr lang="en-GB" sz="800" b="1" i="1" dirty="0">
                <a:solidFill>
                  <a:srgbClr val="FFFFFF"/>
                </a:solidFill>
                <a:latin typeface="Georgia"/>
                <a:ea typeface="Georgia"/>
                <a:cs typeface="Georgia"/>
                <a:sym typeface="Georgia"/>
              </a:rPr>
              <a:t>(UM, Medicaid, Risk </a:t>
            </a:r>
            <a:r>
              <a:rPr lang="en-GB" sz="800" b="1" i="1" dirty="0" err="1">
                <a:solidFill>
                  <a:srgbClr val="FFFFFF"/>
                </a:solidFill>
                <a:latin typeface="Georgia"/>
                <a:ea typeface="Georgia"/>
                <a:cs typeface="Georgia"/>
                <a:sym typeface="Georgia"/>
              </a:rPr>
              <a:t>Mgt</a:t>
            </a:r>
            <a:r>
              <a:rPr lang="en-GB" sz="800" b="1" i="1" dirty="0">
                <a:solidFill>
                  <a:srgbClr val="FFFFFF"/>
                </a:solidFill>
                <a:latin typeface="Georgia"/>
                <a:ea typeface="Georgia"/>
                <a:cs typeface="Georgia"/>
                <a:sym typeface="Georgia"/>
              </a:rPr>
              <a:t>, NQM, Med Cost </a:t>
            </a:r>
            <a:r>
              <a:rPr lang="en-GB" sz="800" b="1" i="1" dirty="0" err="1">
                <a:solidFill>
                  <a:srgbClr val="FFFFFF"/>
                </a:solidFill>
                <a:latin typeface="Georgia"/>
                <a:ea typeface="Georgia"/>
                <a:cs typeface="Georgia"/>
                <a:sym typeface="Georgia"/>
              </a:rPr>
              <a:t>Mgt</a:t>
            </a:r>
            <a:r>
              <a:rPr lang="en-GB" sz="800" b="1" i="1" dirty="0">
                <a:solidFill>
                  <a:srgbClr val="FFFFFF"/>
                </a:solidFill>
                <a:latin typeface="Georgia"/>
                <a:ea typeface="Georgia"/>
                <a:cs typeface="Georgia"/>
                <a:sym typeface="Georgia"/>
              </a:rPr>
              <a:t>) </a:t>
            </a:r>
          </a:p>
          <a:p>
            <a:pPr algn="ctr">
              <a:buClr>
                <a:srgbClr val="FFFFFF"/>
              </a:buClr>
              <a:buSzPct val="25000"/>
              <a:defRPr/>
            </a:pPr>
            <a:endParaRPr lang="en-GB" sz="1270" b="1" i="1" dirty="0">
              <a:solidFill>
                <a:srgbClr val="FFFFFF"/>
              </a:solidFill>
              <a:latin typeface="Georgia"/>
              <a:sym typeface="Georgia"/>
            </a:endParaRPr>
          </a:p>
        </p:txBody>
      </p:sp>
      <p:cxnSp>
        <p:nvCxnSpPr>
          <p:cNvPr id="73" name="Straight Arrow Connector 72">
            <a:extLst>
              <a:ext uri="{FF2B5EF4-FFF2-40B4-BE49-F238E27FC236}">
                <a16:creationId xmlns:a16="http://schemas.microsoft.com/office/drawing/2014/main" id="{2A7F3705-A624-4FB5-9609-830CED764766}"/>
              </a:ext>
            </a:extLst>
          </p:cNvPr>
          <p:cNvCxnSpPr>
            <a:cxnSpLocks/>
          </p:cNvCxnSpPr>
          <p:nvPr/>
        </p:nvCxnSpPr>
        <p:spPr>
          <a:xfrm flipV="1">
            <a:off x="4398435" y="2442316"/>
            <a:ext cx="1689213" cy="2879866"/>
          </a:xfrm>
          <a:prstGeom prst="straightConnector1">
            <a:avLst/>
          </a:prstGeom>
          <a:ln w="19050" cmpd="sng">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6E87CCAE-056F-41C4-9C85-44BE0E461E21}"/>
              </a:ext>
            </a:extLst>
          </p:cNvPr>
          <p:cNvCxnSpPr>
            <a:cxnSpLocks/>
            <a:stCxn id="44" idx="0"/>
          </p:cNvCxnSpPr>
          <p:nvPr/>
        </p:nvCxnSpPr>
        <p:spPr>
          <a:xfrm flipV="1">
            <a:off x="6052483" y="2468283"/>
            <a:ext cx="335219" cy="3006378"/>
          </a:xfrm>
          <a:prstGeom prst="straightConnector1">
            <a:avLst/>
          </a:prstGeom>
          <a:ln w="19050" cmpd="sng">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541D05B0-B0F7-497E-8967-354AED105290}"/>
              </a:ext>
            </a:extLst>
          </p:cNvPr>
          <p:cNvCxnSpPr>
            <a:cxnSpLocks/>
          </p:cNvCxnSpPr>
          <p:nvPr/>
        </p:nvCxnSpPr>
        <p:spPr>
          <a:xfrm flipV="1">
            <a:off x="6403506" y="3764898"/>
            <a:ext cx="2956524" cy="1709763"/>
          </a:xfrm>
          <a:prstGeom prst="straightConnector1">
            <a:avLst/>
          </a:prstGeom>
          <a:ln w="19050" cmpd="sng">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 name="Title 29">
            <a:extLst>
              <a:ext uri="{FF2B5EF4-FFF2-40B4-BE49-F238E27FC236}">
                <a16:creationId xmlns:a16="http://schemas.microsoft.com/office/drawing/2014/main" id="{DDC622B8-EBFC-486B-A7AF-0CA981CD760D}"/>
              </a:ext>
            </a:extLst>
          </p:cNvPr>
          <p:cNvSpPr>
            <a:spLocks noGrp="1"/>
          </p:cNvSpPr>
          <p:nvPr>
            <p:ph type="title"/>
          </p:nvPr>
        </p:nvSpPr>
        <p:spPr>
          <a:xfrm>
            <a:off x="307310" y="550366"/>
            <a:ext cx="10174059" cy="475402"/>
          </a:xfrm>
        </p:spPr>
        <p:txBody>
          <a:bodyPr/>
          <a:lstStyle/>
          <a:p>
            <a:r>
              <a:rPr lang="en-US" sz="1800" b="0" dirty="0"/>
              <a:t>Even today some of our data feeds are created “as needed” from one source to another, thereby creating duplication, inefficiencies and lacks source of truth</a:t>
            </a:r>
          </a:p>
        </p:txBody>
      </p:sp>
      <p:cxnSp>
        <p:nvCxnSpPr>
          <p:cNvPr id="40" name="Straight Arrow Connector 39">
            <a:extLst>
              <a:ext uri="{FF2B5EF4-FFF2-40B4-BE49-F238E27FC236}">
                <a16:creationId xmlns:a16="http://schemas.microsoft.com/office/drawing/2014/main" id="{69DEF0C8-9E40-4A32-8730-A2E611A68CF3}"/>
              </a:ext>
            </a:extLst>
          </p:cNvPr>
          <p:cNvCxnSpPr>
            <a:cxnSpLocks/>
          </p:cNvCxnSpPr>
          <p:nvPr/>
        </p:nvCxnSpPr>
        <p:spPr>
          <a:xfrm flipH="1" flipV="1">
            <a:off x="3827092" y="2480498"/>
            <a:ext cx="379888" cy="2708789"/>
          </a:xfrm>
          <a:prstGeom prst="straightConnector1">
            <a:avLst/>
          </a:prstGeom>
          <a:ln w="19050" cmpd="sng">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9835349"/>
      </p:ext>
    </p:extLst>
  </p:cSld>
  <p:clrMapOvr>
    <a:masterClrMapping/>
  </p:clrMapOvr>
  <p:transition spd="slow">
    <p:cut/>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5700222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45"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Why is it important to CVS Health?</a:t>
            </a: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3" name="Text Placeholder 2"/>
          <p:cNvSpPr>
            <a:spLocks noGrp="1"/>
          </p:cNvSpPr>
          <p:nvPr>
            <p:ph type="body" sz="quarter" idx="11"/>
          </p:nvPr>
        </p:nvSpPr>
        <p:spPr>
          <a:xfrm>
            <a:off x="457200" y="860151"/>
            <a:ext cx="9906000" cy="423094"/>
          </a:xfrm>
        </p:spPr>
        <p:txBody>
          <a:bodyPr/>
          <a:lstStyle/>
          <a:p>
            <a:pPr>
              <a:lnSpc>
                <a:spcPct val="110000"/>
              </a:lnSpc>
              <a:spcAft>
                <a:spcPts val="800"/>
              </a:spcAft>
            </a:pPr>
            <a:r>
              <a:rPr lang="en-US" sz="1800" dirty="0"/>
              <a:t>Stated CVS initiatives are to reduce healthcare costs</a:t>
            </a:r>
          </a:p>
        </p:txBody>
      </p:sp>
      <p:cxnSp>
        <p:nvCxnSpPr>
          <p:cNvPr id="29" name="Straight Connector 28"/>
          <p:cNvCxnSpPr/>
          <p:nvPr/>
        </p:nvCxnSpPr>
        <p:spPr>
          <a:xfrm>
            <a:off x="687361" y="1963953"/>
            <a:ext cx="10679975" cy="0"/>
          </a:xfrm>
          <a:prstGeom prst="line">
            <a:avLst/>
          </a:prstGeom>
          <a:ln w="15875" cmpd="sng">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30" name="Text Placeholder 18"/>
          <p:cNvSpPr txBox="1">
            <a:spLocks/>
          </p:cNvSpPr>
          <p:nvPr/>
        </p:nvSpPr>
        <p:spPr>
          <a:xfrm>
            <a:off x="3596639" y="1750185"/>
            <a:ext cx="4914899" cy="427535"/>
          </a:xfrm>
          <a:prstGeom prst="rect">
            <a:avLst/>
          </a:prstGeom>
          <a:solidFill>
            <a:schemeClr val="bg1"/>
          </a:solidFill>
          <a:ln w="9525">
            <a:noFill/>
          </a:ln>
        </p:spPr>
        <p:txBody>
          <a:bodyPr vert="horz" wrap="square" lIns="72000" tIns="72000" rIns="72000" bIns="72000" rtlCol="0">
            <a:noAutofit/>
          </a:bodyPr>
          <a:lstStyle>
            <a:lvl1pPr marL="0" indent="0" algn="l" defTabSz="914400" rtl="0" eaLnBrk="1" latinLnBrk="0" hangingPunct="1">
              <a:lnSpc>
                <a:spcPts val="2160"/>
              </a:lnSpc>
              <a:spcBef>
                <a:spcPts val="0"/>
              </a:spcBef>
              <a:spcAft>
                <a:spcPts val="0"/>
              </a:spcAft>
              <a:buFont typeface="Arial" panose="020B0604020202020204" pitchFamily="34" charset="0"/>
              <a:buNone/>
              <a:defRPr sz="1600" b="1" kern="1200">
                <a:solidFill>
                  <a:schemeClr val="bg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4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4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4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4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en-US" sz="2400" dirty="0">
                <a:solidFill>
                  <a:schemeClr val="tx2"/>
                </a:solidFill>
                <a:latin typeface="Domaine Display Bold" panose="020A0803080505060203" pitchFamily="18" charset="0"/>
                <a:ea typeface="Domaine Display" charset="0"/>
                <a:cs typeface="Domaine Display" charset="0"/>
              </a:rPr>
              <a:t>What CVS Health could gain…</a:t>
            </a:r>
          </a:p>
        </p:txBody>
      </p:sp>
      <p:sp>
        <p:nvSpPr>
          <p:cNvPr id="32" name="Oval 31"/>
          <p:cNvSpPr/>
          <p:nvPr/>
        </p:nvSpPr>
        <p:spPr>
          <a:xfrm>
            <a:off x="557699" y="2915107"/>
            <a:ext cx="550667" cy="569334"/>
          </a:xfrm>
          <a:prstGeom prst="ellipse">
            <a:avLst/>
          </a:prstGeom>
          <a:solidFill>
            <a:schemeClr val="accent4">
              <a:lumMod val="75000"/>
            </a:schemeClr>
          </a:solidFill>
          <a:ln w="3175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latin typeface="Open Sans Bold"/>
              <a:cs typeface="Open Sans Bold"/>
            </a:endParaRPr>
          </a:p>
        </p:txBody>
      </p:sp>
      <p:sp>
        <p:nvSpPr>
          <p:cNvPr id="35" name="Rectangle 34"/>
          <p:cNvSpPr/>
          <p:nvPr/>
        </p:nvSpPr>
        <p:spPr>
          <a:xfrm>
            <a:off x="3978225" y="2628738"/>
            <a:ext cx="3792924" cy="3768276"/>
          </a:xfrm>
          <a:prstGeom prst="rect">
            <a:avLst/>
          </a:prstGeom>
        </p:spPr>
        <p:txBody>
          <a:bodyPr wrap="square" anchor="ctr">
            <a:spAutoFit/>
          </a:bodyPr>
          <a:lstStyle/>
          <a:p>
            <a:pPr marL="146050" indent="-146050">
              <a:lnSpc>
                <a:spcPct val="110000"/>
              </a:lnSpc>
              <a:spcAft>
                <a:spcPts val="800"/>
              </a:spcAft>
              <a:buFont typeface="Arial" charset="0"/>
              <a:buChar char="•"/>
            </a:pPr>
            <a:r>
              <a:rPr lang="en-US" sz="1400" dirty="0"/>
              <a:t>Prior to the CVS purchase of Aetna, Aetna had redundant clinical systems. Post acquisition, there are more overlaps of systems, people and capabilities.   </a:t>
            </a:r>
          </a:p>
          <a:p>
            <a:pPr>
              <a:lnSpc>
                <a:spcPct val="110000"/>
              </a:lnSpc>
              <a:spcAft>
                <a:spcPts val="800"/>
              </a:spcAft>
            </a:pPr>
            <a:endParaRPr lang="en-US" sz="600" dirty="0">
              <a:solidFill>
                <a:schemeClr val="tx1">
                  <a:lumMod val="75000"/>
                  <a:lumOff val="25000"/>
                </a:schemeClr>
              </a:solidFill>
              <a:latin typeface="Arial" panose="020B0604020202020204" pitchFamily="34" charset="0"/>
              <a:cs typeface="Arial" panose="020B0604020202020204" pitchFamily="34" charset="0"/>
            </a:endParaRPr>
          </a:p>
          <a:p>
            <a:pPr marL="146050" indent="-146050">
              <a:lnSpc>
                <a:spcPct val="110000"/>
              </a:lnSpc>
              <a:spcAft>
                <a:spcPts val="800"/>
              </a:spcAft>
              <a:buFont typeface="Arial" charset="0"/>
              <a:buChar char="•"/>
            </a:pPr>
            <a:r>
              <a:rPr lang="en-US" sz="1400" dirty="0">
                <a:solidFill>
                  <a:schemeClr val="tx1">
                    <a:lumMod val="75000"/>
                    <a:lumOff val="25000"/>
                  </a:schemeClr>
                </a:solidFill>
              </a:rPr>
              <a:t>As we synergize and share data not only will cost of overall systems go down but medical cost could be reduce by enabling clinical insights and data visibility to be passed to those who need it to help our customers</a:t>
            </a:r>
          </a:p>
          <a:p>
            <a:pPr>
              <a:lnSpc>
                <a:spcPct val="110000"/>
              </a:lnSpc>
              <a:spcAft>
                <a:spcPts val="800"/>
              </a:spcAft>
            </a:pPr>
            <a:endParaRPr lang="en-US" sz="600" dirty="0">
              <a:solidFill>
                <a:schemeClr val="tx1">
                  <a:lumMod val="75000"/>
                  <a:lumOff val="25000"/>
                </a:schemeClr>
              </a:solidFill>
              <a:latin typeface="Arial" panose="020B0604020202020204" pitchFamily="34" charset="0"/>
              <a:cs typeface="Arial" panose="020B0604020202020204" pitchFamily="34" charset="0"/>
            </a:endParaRPr>
          </a:p>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cs typeface="Arial" panose="020B0604020202020204" pitchFamily="34" charset="0"/>
              </a:rPr>
              <a:t>As data flows more freely across the health continuum, greater clinical awareness is spread as well. </a:t>
            </a:r>
          </a:p>
        </p:txBody>
      </p:sp>
      <p:sp>
        <p:nvSpPr>
          <p:cNvPr id="37" name="Rectangle 36"/>
          <p:cNvSpPr/>
          <p:nvPr/>
        </p:nvSpPr>
        <p:spPr>
          <a:xfrm>
            <a:off x="8107978" y="2713486"/>
            <a:ext cx="3586447" cy="3354765"/>
          </a:xfrm>
          <a:prstGeom prst="rect">
            <a:avLst/>
          </a:prstGeom>
        </p:spPr>
        <p:txBody>
          <a:bodyPr wrap="square" anchor="ctr">
            <a:spAutoFit/>
          </a:bodyPr>
          <a:lstStyle/>
          <a:p>
            <a:pPr marL="285750" indent="-285750">
              <a:spcAft>
                <a:spcPts val="600"/>
              </a:spcAft>
              <a:buFont typeface="Arial" panose="020B0604020202020204" pitchFamily="34" charset="0"/>
              <a:buChar char="•"/>
              <a:defRPr/>
            </a:pPr>
            <a:r>
              <a:rPr lang="en-US" sz="1400" dirty="0">
                <a:solidFill>
                  <a:schemeClr val="tx1">
                    <a:lumMod val="75000"/>
                    <a:lumOff val="25000"/>
                  </a:schemeClr>
                </a:solidFill>
              </a:rPr>
              <a:t>Significant costs savings across many areas of business, systems and integrations </a:t>
            </a:r>
          </a:p>
          <a:p>
            <a:pPr marL="285750" indent="-285750">
              <a:spcAft>
                <a:spcPts val="600"/>
              </a:spcAft>
              <a:buFont typeface="Arial" panose="020B0604020202020204" pitchFamily="34" charset="0"/>
              <a:buChar char="•"/>
              <a:defRPr/>
            </a:pPr>
            <a:endParaRPr lang="en-US" sz="1400" dirty="0">
              <a:solidFill>
                <a:schemeClr val="tx1">
                  <a:lumMod val="75000"/>
                  <a:lumOff val="25000"/>
                </a:schemeClr>
              </a:solidFill>
            </a:endParaRPr>
          </a:p>
          <a:p>
            <a:pPr marL="285750" indent="-285750">
              <a:spcAft>
                <a:spcPts val="600"/>
              </a:spcAft>
              <a:buFont typeface="Arial" panose="020B0604020202020204" pitchFamily="34" charset="0"/>
              <a:buChar char="•"/>
              <a:defRPr/>
            </a:pPr>
            <a:endParaRPr lang="en-US" sz="1400" dirty="0">
              <a:solidFill>
                <a:schemeClr val="tx1">
                  <a:lumMod val="75000"/>
                  <a:lumOff val="25000"/>
                </a:schemeClr>
              </a:solidFill>
            </a:endParaRPr>
          </a:p>
          <a:p>
            <a:pPr marL="285750" indent="-285750">
              <a:spcAft>
                <a:spcPts val="600"/>
              </a:spcAft>
              <a:buFont typeface="Arial" panose="020B0604020202020204" pitchFamily="34" charset="0"/>
              <a:buChar char="•"/>
              <a:defRPr/>
            </a:pPr>
            <a:r>
              <a:rPr lang="en-US" sz="1400" dirty="0">
                <a:solidFill>
                  <a:schemeClr val="tx1">
                    <a:lumMod val="75000"/>
                    <a:lumOff val="25000"/>
                  </a:schemeClr>
                </a:solidFill>
              </a:rPr>
              <a:t>Reduced medical cost and complexity not only within CVS but to our customers including not only the patients but also our providers.</a:t>
            </a:r>
          </a:p>
          <a:p>
            <a:pPr>
              <a:spcAft>
                <a:spcPts val="600"/>
              </a:spcAft>
              <a:defRPr/>
            </a:pPr>
            <a:endParaRPr lang="en-US" sz="1400" dirty="0">
              <a:solidFill>
                <a:schemeClr val="tx1">
                  <a:lumMod val="75000"/>
                  <a:lumOff val="25000"/>
                </a:schemeClr>
              </a:solidFill>
            </a:endParaRPr>
          </a:p>
          <a:p>
            <a:pPr>
              <a:spcAft>
                <a:spcPts val="600"/>
              </a:spcAft>
              <a:defRPr/>
            </a:pPr>
            <a:endParaRPr lang="en-US" sz="1400" dirty="0">
              <a:solidFill>
                <a:schemeClr val="tx1">
                  <a:lumMod val="75000"/>
                  <a:lumOff val="25000"/>
                </a:schemeClr>
              </a:solidFill>
            </a:endParaRPr>
          </a:p>
          <a:p>
            <a:pPr marL="285750" indent="-285750">
              <a:spcAft>
                <a:spcPts val="600"/>
              </a:spcAft>
              <a:buFont typeface="Arial" panose="020B0604020202020204" pitchFamily="34" charset="0"/>
              <a:buChar char="•"/>
              <a:defRPr/>
            </a:pPr>
            <a:r>
              <a:rPr lang="en-US" sz="1400" dirty="0">
                <a:solidFill>
                  <a:schemeClr val="tx1">
                    <a:lumMod val="75000"/>
                    <a:lumOff val="25000"/>
                  </a:schemeClr>
                </a:solidFill>
              </a:rPr>
              <a:t>Created a better “connected” experience for all those engaging CVS.</a:t>
            </a:r>
          </a:p>
        </p:txBody>
      </p:sp>
      <p:sp>
        <p:nvSpPr>
          <p:cNvPr id="38" name="TextBox 37"/>
          <p:cNvSpPr txBox="1"/>
          <p:nvPr/>
        </p:nvSpPr>
        <p:spPr>
          <a:xfrm>
            <a:off x="1275858" y="2288576"/>
            <a:ext cx="2191738" cy="294640"/>
          </a:xfrm>
          <a:prstGeom prst="rect">
            <a:avLst/>
          </a:prstGeom>
          <a:noFill/>
        </p:spPr>
        <p:txBody>
          <a:bodyPr wrap="square" lIns="0" tIns="0" rIns="0" bIns="0" rtlCol="0">
            <a:noAutofit/>
          </a:bodyPr>
          <a:lstStyle/>
          <a:p>
            <a:pPr algn="ctr" defTabSz="456758" fontAlgn="base">
              <a:spcBef>
                <a:spcPts val="1200"/>
              </a:spcBef>
            </a:pPr>
            <a:r>
              <a:rPr lang="en-US" sz="1600" b="1" dirty="0">
                <a:solidFill>
                  <a:schemeClr val="accent2"/>
                </a:solidFill>
                <a:cs typeface="Open Sans Light"/>
              </a:rPr>
              <a:t>Potential Benefit</a:t>
            </a:r>
          </a:p>
        </p:txBody>
      </p:sp>
      <p:sp>
        <p:nvSpPr>
          <p:cNvPr id="39" name="TextBox 38"/>
          <p:cNvSpPr txBox="1"/>
          <p:nvPr/>
        </p:nvSpPr>
        <p:spPr>
          <a:xfrm>
            <a:off x="4779439" y="2288576"/>
            <a:ext cx="2000540" cy="294640"/>
          </a:xfrm>
          <a:prstGeom prst="rect">
            <a:avLst/>
          </a:prstGeom>
          <a:noFill/>
        </p:spPr>
        <p:txBody>
          <a:bodyPr wrap="square" lIns="0" tIns="0" rIns="0" bIns="0" rtlCol="0">
            <a:noAutofit/>
          </a:bodyPr>
          <a:lstStyle/>
          <a:p>
            <a:pPr algn="ctr" defTabSz="456758" fontAlgn="base">
              <a:spcBef>
                <a:spcPts val="1200"/>
              </a:spcBef>
            </a:pPr>
            <a:r>
              <a:rPr lang="en-US" sz="1600" b="1" dirty="0">
                <a:solidFill>
                  <a:schemeClr val="accent2"/>
                </a:solidFill>
                <a:cs typeface="Open Sans Light"/>
              </a:rPr>
              <a:t>Description</a:t>
            </a:r>
          </a:p>
        </p:txBody>
      </p:sp>
      <p:sp>
        <p:nvSpPr>
          <p:cNvPr id="40" name="TextBox 39"/>
          <p:cNvSpPr txBox="1"/>
          <p:nvPr/>
        </p:nvSpPr>
        <p:spPr>
          <a:xfrm>
            <a:off x="8800905" y="2288576"/>
            <a:ext cx="2200594" cy="294640"/>
          </a:xfrm>
          <a:prstGeom prst="rect">
            <a:avLst/>
          </a:prstGeom>
          <a:noFill/>
        </p:spPr>
        <p:txBody>
          <a:bodyPr wrap="square" lIns="0" tIns="0" rIns="0" bIns="0" rtlCol="0">
            <a:noAutofit/>
          </a:bodyPr>
          <a:lstStyle/>
          <a:p>
            <a:pPr algn="ctr" defTabSz="456758" fontAlgn="base">
              <a:spcBef>
                <a:spcPts val="1200"/>
              </a:spcBef>
            </a:pPr>
            <a:r>
              <a:rPr lang="en-US" sz="1600" b="1" dirty="0">
                <a:solidFill>
                  <a:schemeClr val="accent2"/>
                </a:solidFill>
                <a:cs typeface="Open Sans Light"/>
              </a:rPr>
              <a:t>Positive Outcomes</a:t>
            </a:r>
          </a:p>
        </p:txBody>
      </p:sp>
      <p:sp>
        <p:nvSpPr>
          <p:cNvPr id="41" name="Freeform 4886"/>
          <p:cNvSpPr>
            <a:spLocks/>
          </p:cNvSpPr>
          <p:nvPr/>
        </p:nvSpPr>
        <p:spPr bwMode="auto">
          <a:xfrm>
            <a:off x="691219" y="3054137"/>
            <a:ext cx="291349" cy="291273"/>
          </a:xfrm>
          <a:custGeom>
            <a:avLst/>
            <a:gdLst>
              <a:gd name="T0" fmla="*/ 320 w 320"/>
              <a:gd name="T1" fmla="*/ 124 h 320"/>
              <a:gd name="T2" fmla="*/ 320 w 320"/>
              <a:gd name="T3" fmla="*/ 196 h 320"/>
              <a:gd name="T4" fmla="*/ 320 w 320"/>
              <a:gd name="T5" fmla="*/ 196 h 320"/>
              <a:gd name="T6" fmla="*/ 318 w 320"/>
              <a:gd name="T7" fmla="*/ 202 h 320"/>
              <a:gd name="T8" fmla="*/ 316 w 320"/>
              <a:gd name="T9" fmla="*/ 208 h 320"/>
              <a:gd name="T10" fmla="*/ 310 w 320"/>
              <a:gd name="T11" fmla="*/ 210 h 320"/>
              <a:gd name="T12" fmla="*/ 304 w 320"/>
              <a:gd name="T13" fmla="*/ 212 h 320"/>
              <a:gd name="T14" fmla="*/ 212 w 320"/>
              <a:gd name="T15" fmla="*/ 212 h 320"/>
              <a:gd name="T16" fmla="*/ 212 w 320"/>
              <a:gd name="T17" fmla="*/ 304 h 320"/>
              <a:gd name="T18" fmla="*/ 212 w 320"/>
              <a:gd name="T19" fmla="*/ 304 h 320"/>
              <a:gd name="T20" fmla="*/ 210 w 320"/>
              <a:gd name="T21" fmla="*/ 310 h 320"/>
              <a:gd name="T22" fmla="*/ 208 w 320"/>
              <a:gd name="T23" fmla="*/ 316 h 320"/>
              <a:gd name="T24" fmla="*/ 202 w 320"/>
              <a:gd name="T25" fmla="*/ 318 h 320"/>
              <a:gd name="T26" fmla="*/ 196 w 320"/>
              <a:gd name="T27" fmla="*/ 320 h 320"/>
              <a:gd name="T28" fmla="*/ 124 w 320"/>
              <a:gd name="T29" fmla="*/ 320 h 320"/>
              <a:gd name="T30" fmla="*/ 124 w 320"/>
              <a:gd name="T31" fmla="*/ 320 h 320"/>
              <a:gd name="T32" fmla="*/ 118 w 320"/>
              <a:gd name="T33" fmla="*/ 318 h 320"/>
              <a:gd name="T34" fmla="*/ 112 w 320"/>
              <a:gd name="T35" fmla="*/ 316 h 320"/>
              <a:gd name="T36" fmla="*/ 110 w 320"/>
              <a:gd name="T37" fmla="*/ 310 h 320"/>
              <a:gd name="T38" fmla="*/ 108 w 320"/>
              <a:gd name="T39" fmla="*/ 304 h 320"/>
              <a:gd name="T40" fmla="*/ 108 w 320"/>
              <a:gd name="T41" fmla="*/ 212 h 320"/>
              <a:gd name="T42" fmla="*/ 16 w 320"/>
              <a:gd name="T43" fmla="*/ 212 h 320"/>
              <a:gd name="T44" fmla="*/ 16 w 320"/>
              <a:gd name="T45" fmla="*/ 212 h 320"/>
              <a:gd name="T46" fmla="*/ 10 w 320"/>
              <a:gd name="T47" fmla="*/ 210 h 320"/>
              <a:gd name="T48" fmla="*/ 4 w 320"/>
              <a:gd name="T49" fmla="*/ 208 h 320"/>
              <a:gd name="T50" fmla="*/ 2 w 320"/>
              <a:gd name="T51" fmla="*/ 202 h 320"/>
              <a:gd name="T52" fmla="*/ 0 w 320"/>
              <a:gd name="T53" fmla="*/ 196 h 320"/>
              <a:gd name="T54" fmla="*/ 0 w 320"/>
              <a:gd name="T55" fmla="*/ 124 h 320"/>
              <a:gd name="T56" fmla="*/ 0 w 320"/>
              <a:gd name="T57" fmla="*/ 124 h 320"/>
              <a:gd name="T58" fmla="*/ 2 w 320"/>
              <a:gd name="T59" fmla="*/ 118 h 320"/>
              <a:gd name="T60" fmla="*/ 4 w 320"/>
              <a:gd name="T61" fmla="*/ 112 h 320"/>
              <a:gd name="T62" fmla="*/ 10 w 320"/>
              <a:gd name="T63" fmla="*/ 110 h 320"/>
              <a:gd name="T64" fmla="*/ 16 w 320"/>
              <a:gd name="T65" fmla="*/ 108 h 320"/>
              <a:gd name="T66" fmla="*/ 108 w 320"/>
              <a:gd name="T67" fmla="*/ 108 h 320"/>
              <a:gd name="T68" fmla="*/ 108 w 320"/>
              <a:gd name="T69" fmla="*/ 16 h 320"/>
              <a:gd name="T70" fmla="*/ 108 w 320"/>
              <a:gd name="T71" fmla="*/ 16 h 320"/>
              <a:gd name="T72" fmla="*/ 110 w 320"/>
              <a:gd name="T73" fmla="*/ 10 h 320"/>
              <a:gd name="T74" fmla="*/ 112 w 320"/>
              <a:gd name="T75" fmla="*/ 4 h 320"/>
              <a:gd name="T76" fmla="*/ 118 w 320"/>
              <a:gd name="T77" fmla="*/ 2 h 320"/>
              <a:gd name="T78" fmla="*/ 124 w 320"/>
              <a:gd name="T79" fmla="*/ 0 h 320"/>
              <a:gd name="T80" fmla="*/ 196 w 320"/>
              <a:gd name="T81" fmla="*/ 0 h 320"/>
              <a:gd name="T82" fmla="*/ 196 w 320"/>
              <a:gd name="T83" fmla="*/ 0 h 320"/>
              <a:gd name="T84" fmla="*/ 202 w 320"/>
              <a:gd name="T85" fmla="*/ 2 h 320"/>
              <a:gd name="T86" fmla="*/ 208 w 320"/>
              <a:gd name="T87" fmla="*/ 4 h 320"/>
              <a:gd name="T88" fmla="*/ 210 w 320"/>
              <a:gd name="T89" fmla="*/ 10 h 320"/>
              <a:gd name="T90" fmla="*/ 212 w 320"/>
              <a:gd name="T91" fmla="*/ 16 h 320"/>
              <a:gd name="T92" fmla="*/ 212 w 320"/>
              <a:gd name="T93" fmla="*/ 108 h 320"/>
              <a:gd name="T94" fmla="*/ 304 w 320"/>
              <a:gd name="T95" fmla="*/ 108 h 320"/>
              <a:gd name="T96" fmla="*/ 304 w 320"/>
              <a:gd name="T97" fmla="*/ 108 h 320"/>
              <a:gd name="T98" fmla="*/ 310 w 320"/>
              <a:gd name="T99" fmla="*/ 110 h 320"/>
              <a:gd name="T100" fmla="*/ 316 w 320"/>
              <a:gd name="T101" fmla="*/ 112 h 320"/>
              <a:gd name="T102" fmla="*/ 318 w 320"/>
              <a:gd name="T103" fmla="*/ 118 h 320"/>
              <a:gd name="T104" fmla="*/ 320 w 320"/>
              <a:gd name="T105" fmla="*/ 124 h 320"/>
              <a:gd name="T106" fmla="*/ 320 w 320"/>
              <a:gd name="T107" fmla="*/ 1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0" h="320">
                <a:moveTo>
                  <a:pt x="320" y="124"/>
                </a:moveTo>
                <a:lnTo>
                  <a:pt x="320" y="196"/>
                </a:lnTo>
                <a:lnTo>
                  <a:pt x="320" y="196"/>
                </a:lnTo>
                <a:lnTo>
                  <a:pt x="318" y="202"/>
                </a:lnTo>
                <a:lnTo>
                  <a:pt x="316" y="208"/>
                </a:lnTo>
                <a:lnTo>
                  <a:pt x="310" y="210"/>
                </a:lnTo>
                <a:lnTo>
                  <a:pt x="304" y="212"/>
                </a:lnTo>
                <a:lnTo>
                  <a:pt x="212" y="212"/>
                </a:lnTo>
                <a:lnTo>
                  <a:pt x="212" y="304"/>
                </a:lnTo>
                <a:lnTo>
                  <a:pt x="212" y="304"/>
                </a:lnTo>
                <a:lnTo>
                  <a:pt x="210" y="310"/>
                </a:lnTo>
                <a:lnTo>
                  <a:pt x="208" y="316"/>
                </a:lnTo>
                <a:lnTo>
                  <a:pt x="202" y="318"/>
                </a:lnTo>
                <a:lnTo>
                  <a:pt x="196" y="320"/>
                </a:lnTo>
                <a:lnTo>
                  <a:pt x="124" y="320"/>
                </a:lnTo>
                <a:lnTo>
                  <a:pt x="124" y="320"/>
                </a:lnTo>
                <a:lnTo>
                  <a:pt x="118" y="318"/>
                </a:lnTo>
                <a:lnTo>
                  <a:pt x="112" y="316"/>
                </a:lnTo>
                <a:lnTo>
                  <a:pt x="110" y="310"/>
                </a:lnTo>
                <a:lnTo>
                  <a:pt x="108" y="304"/>
                </a:lnTo>
                <a:lnTo>
                  <a:pt x="108" y="212"/>
                </a:lnTo>
                <a:lnTo>
                  <a:pt x="16" y="212"/>
                </a:lnTo>
                <a:lnTo>
                  <a:pt x="16" y="212"/>
                </a:lnTo>
                <a:lnTo>
                  <a:pt x="10" y="210"/>
                </a:lnTo>
                <a:lnTo>
                  <a:pt x="4" y="208"/>
                </a:lnTo>
                <a:lnTo>
                  <a:pt x="2" y="202"/>
                </a:lnTo>
                <a:lnTo>
                  <a:pt x="0" y="196"/>
                </a:lnTo>
                <a:lnTo>
                  <a:pt x="0" y="124"/>
                </a:lnTo>
                <a:lnTo>
                  <a:pt x="0" y="124"/>
                </a:lnTo>
                <a:lnTo>
                  <a:pt x="2" y="118"/>
                </a:lnTo>
                <a:lnTo>
                  <a:pt x="4" y="112"/>
                </a:lnTo>
                <a:lnTo>
                  <a:pt x="10" y="110"/>
                </a:lnTo>
                <a:lnTo>
                  <a:pt x="16" y="108"/>
                </a:lnTo>
                <a:lnTo>
                  <a:pt x="108" y="108"/>
                </a:lnTo>
                <a:lnTo>
                  <a:pt x="108" y="16"/>
                </a:lnTo>
                <a:lnTo>
                  <a:pt x="108" y="16"/>
                </a:lnTo>
                <a:lnTo>
                  <a:pt x="110" y="10"/>
                </a:lnTo>
                <a:lnTo>
                  <a:pt x="112" y="4"/>
                </a:lnTo>
                <a:lnTo>
                  <a:pt x="118" y="2"/>
                </a:lnTo>
                <a:lnTo>
                  <a:pt x="124" y="0"/>
                </a:lnTo>
                <a:lnTo>
                  <a:pt x="196" y="0"/>
                </a:lnTo>
                <a:lnTo>
                  <a:pt x="196" y="0"/>
                </a:lnTo>
                <a:lnTo>
                  <a:pt x="202" y="2"/>
                </a:lnTo>
                <a:lnTo>
                  <a:pt x="208" y="4"/>
                </a:lnTo>
                <a:lnTo>
                  <a:pt x="210" y="10"/>
                </a:lnTo>
                <a:lnTo>
                  <a:pt x="212" y="16"/>
                </a:lnTo>
                <a:lnTo>
                  <a:pt x="212" y="108"/>
                </a:lnTo>
                <a:lnTo>
                  <a:pt x="304" y="108"/>
                </a:lnTo>
                <a:lnTo>
                  <a:pt x="304" y="108"/>
                </a:lnTo>
                <a:lnTo>
                  <a:pt x="310" y="110"/>
                </a:lnTo>
                <a:lnTo>
                  <a:pt x="316" y="112"/>
                </a:lnTo>
                <a:lnTo>
                  <a:pt x="318" y="118"/>
                </a:lnTo>
                <a:lnTo>
                  <a:pt x="320" y="124"/>
                </a:lnTo>
                <a:lnTo>
                  <a:pt x="320" y="1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6" name="Group 5">
            <a:extLst>
              <a:ext uri="{FF2B5EF4-FFF2-40B4-BE49-F238E27FC236}">
                <a16:creationId xmlns:a16="http://schemas.microsoft.com/office/drawing/2014/main" id="{AA61B8AC-AAF9-4BCC-880F-D9CE03744C1B}"/>
              </a:ext>
            </a:extLst>
          </p:cNvPr>
          <p:cNvGrpSpPr/>
          <p:nvPr/>
        </p:nvGrpSpPr>
        <p:grpSpPr>
          <a:xfrm>
            <a:off x="557699" y="3990117"/>
            <a:ext cx="550667" cy="569334"/>
            <a:chOff x="561561" y="3880782"/>
            <a:chExt cx="550667" cy="569334"/>
          </a:xfrm>
        </p:grpSpPr>
        <p:sp>
          <p:nvSpPr>
            <p:cNvPr id="33" name="Oval 32"/>
            <p:cNvSpPr/>
            <p:nvPr/>
          </p:nvSpPr>
          <p:spPr>
            <a:xfrm>
              <a:off x="561561" y="3880782"/>
              <a:ext cx="550667" cy="569334"/>
            </a:xfrm>
            <a:prstGeom prst="ellipse">
              <a:avLst/>
            </a:prstGeom>
            <a:solidFill>
              <a:schemeClr val="accent4">
                <a:lumMod val="75000"/>
              </a:schemeClr>
            </a:solidFill>
            <a:ln w="3175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latin typeface="Open Sans Bold"/>
                <a:cs typeface="Open Sans Bold"/>
              </a:endParaRPr>
            </a:p>
          </p:txBody>
        </p:sp>
        <p:sp>
          <p:nvSpPr>
            <p:cNvPr id="42" name="Freeform 4886"/>
            <p:cNvSpPr>
              <a:spLocks/>
            </p:cNvSpPr>
            <p:nvPr/>
          </p:nvSpPr>
          <p:spPr bwMode="auto">
            <a:xfrm>
              <a:off x="691220" y="4026497"/>
              <a:ext cx="291349" cy="291273"/>
            </a:xfrm>
            <a:custGeom>
              <a:avLst/>
              <a:gdLst>
                <a:gd name="T0" fmla="*/ 320 w 320"/>
                <a:gd name="T1" fmla="*/ 124 h 320"/>
                <a:gd name="T2" fmla="*/ 320 w 320"/>
                <a:gd name="T3" fmla="*/ 196 h 320"/>
                <a:gd name="T4" fmla="*/ 320 w 320"/>
                <a:gd name="T5" fmla="*/ 196 h 320"/>
                <a:gd name="T6" fmla="*/ 318 w 320"/>
                <a:gd name="T7" fmla="*/ 202 h 320"/>
                <a:gd name="T8" fmla="*/ 316 w 320"/>
                <a:gd name="T9" fmla="*/ 208 h 320"/>
                <a:gd name="T10" fmla="*/ 310 w 320"/>
                <a:gd name="T11" fmla="*/ 210 h 320"/>
                <a:gd name="T12" fmla="*/ 304 w 320"/>
                <a:gd name="T13" fmla="*/ 212 h 320"/>
                <a:gd name="T14" fmla="*/ 212 w 320"/>
                <a:gd name="T15" fmla="*/ 212 h 320"/>
                <a:gd name="T16" fmla="*/ 212 w 320"/>
                <a:gd name="T17" fmla="*/ 304 h 320"/>
                <a:gd name="T18" fmla="*/ 212 w 320"/>
                <a:gd name="T19" fmla="*/ 304 h 320"/>
                <a:gd name="T20" fmla="*/ 210 w 320"/>
                <a:gd name="T21" fmla="*/ 310 h 320"/>
                <a:gd name="T22" fmla="*/ 208 w 320"/>
                <a:gd name="T23" fmla="*/ 316 h 320"/>
                <a:gd name="T24" fmla="*/ 202 w 320"/>
                <a:gd name="T25" fmla="*/ 318 h 320"/>
                <a:gd name="T26" fmla="*/ 196 w 320"/>
                <a:gd name="T27" fmla="*/ 320 h 320"/>
                <a:gd name="T28" fmla="*/ 124 w 320"/>
                <a:gd name="T29" fmla="*/ 320 h 320"/>
                <a:gd name="T30" fmla="*/ 124 w 320"/>
                <a:gd name="T31" fmla="*/ 320 h 320"/>
                <a:gd name="T32" fmla="*/ 118 w 320"/>
                <a:gd name="T33" fmla="*/ 318 h 320"/>
                <a:gd name="T34" fmla="*/ 112 w 320"/>
                <a:gd name="T35" fmla="*/ 316 h 320"/>
                <a:gd name="T36" fmla="*/ 110 w 320"/>
                <a:gd name="T37" fmla="*/ 310 h 320"/>
                <a:gd name="T38" fmla="*/ 108 w 320"/>
                <a:gd name="T39" fmla="*/ 304 h 320"/>
                <a:gd name="T40" fmla="*/ 108 w 320"/>
                <a:gd name="T41" fmla="*/ 212 h 320"/>
                <a:gd name="T42" fmla="*/ 16 w 320"/>
                <a:gd name="T43" fmla="*/ 212 h 320"/>
                <a:gd name="T44" fmla="*/ 16 w 320"/>
                <a:gd name="T45" fmla="*/ 212 h 320"/>
                <a:gd name="T46" fmla="*/ 10 w 320"/>
                <a:gd name="T47" fmla="*/ 210 h 320"/>
                <a:gd name="T48" fmla="*/ 4 w 320"/>
                <a:gd name="T49" fmla="*/ 208 h 320"/>
                <a:gd name="T50" fmla="*/ 2 w 320"/>
                <a:gd name="T51" fmla="*/ 202 h 320"/>
                <a:gd name="T52" fmla="*/ 0 w 320"/>
                <a:gd name="T53" fmla="*/ 196 h 320"/>
                <a:gd name="T54" fmla="*/ 0 w 320"/>
                <a:gd name="T55" fmla="*/ 124 h 320"/>
                <a:gd name="T56" fmla="*/ 0 w 320"/>
                <a:gd name="T57" fmla="*/ 124 h 320"/>
                <a:gd name="T58" fmla="*/ 2 w 320"/>
                <a:gd name="T59" fmla="*/ 118 h 320"/>
                <a:gd name="T60" fmla="*/ 4 w 320"/>
                <a:gd name="T61" fmla="*/ 112 h 320"/>
                <a:gd name="T62" fmla="*/ 10 w 320"/>
                <a:gd name="T63" fmla="*/ 110 h 320"/>
                <a:gd name="T64" fmla="*/ 16 w 320"/>
                <a:gd name="T65" fmla="*/ 108 h 320"/>
                <a:gd name="T66" fmla="*/ 108 w 320"/>
                <a:gd name="T67" fmla="*/ 108 h 320"/>
                <a:gd name="T68" fmla="*/ 108 w 320"/>
                <a:gd name="T69" fmla="*/ 16 h 320"/>
                <a:gd name="T70" fmla="*/ 108 w 320"/>
                <a:gd name="T71" fmla="*/ 16 h 320"/>
                <a:gd name="T72" fmla="*/ 110 w 320"/>
                <a:gd name="T73" fmla="*/ 10 h 320"/>
                <a:gd name="T74" fmla="*/ 112 w 320"/>
                <a:gd name="T75" fmla="*/ 4 h 320"/>
                <a:gd name="T76" fmla="*/ 118 w 320"/>
                <a:gd name="T77" fmla="*/ 2 h 320"/>
                <a:gd name="T78" fmla="*/ 124 w 320"/>
                <a:gd name="T79" fmla="*/ 0 h 320"/>
                <a:gd name="T80" fmla="*/ 196 w 320"/>
                <a:gd name="T81" fmla="*/ 0 h 320"/>
                <a:gd name="T82" fmla="*/ 196 w 320"/>
                <a:gd name="T83" fmla="*/ 0 h 320"/>
                <a:gd name="T84" fmla="*/ 202 w 320"/>
                <a:gd name="T85" fmla="*/ 2 h 320"/>
                <a:gd name="T86" fmla="*/ 208 w 320"/>
                <a:gd name="T87" fmla="*/ 4 h 320"/>
                <a:gd name="T88" fmla="*/ 210 w 320"/>
                <a:gd name="T89" fmla="*/ 10 h 320"/>
                <a:gd name="T90" fmla="*/ 212 w 320"/>
                <a:gd name="T91" fmla="*/ 16 h 320"/>
                <a:gd name="T92" fmla="*/ 212 w 320"/>
                <a:gd name="T93" fmla="*/ 108 h 320"/>
                <a:gd name="T94" fmla="*/ 304 w 320"/>
                <a:gd name="T95" fmla="*/ 108 h 320"/>
                <a:gd name="T96" fmla="*/ 304 w 320"/>
                <a:gd name="T97" fmla="*/ 108 h 320"/>
                <a:gd name="T98" fmla="*/ 310 w 320"/>
                <a:gd name="T99" fmla="*/ 110 h 320"/>
                <a:gd name="T100" fmla="*/ 316 w 320"/>
                <a:gd name="T101" fmla="*/ 112 h 320"/>
                <a:gd name="T102" fmla="*/ 318 w 320"/>
                <a:gd name="T103" fmla="*/ 118 h 320"/>
                <a:gd name="T104" fmla="*/ 320 w 320"/>
                <a:gd name="T105" fmla="*/ 124 h 320"/>
                <a:gd name="T106" fmla="*/ 320 w 320"/>
                <a:gd name="T107" fmla="*/ 1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0" h="320">
                  <a:moveTo>
                    <a:pt x="320" y="124"/>
                  </a:moveTo>
                  <a:lnTo>
                    <a:pt x="320" y="196"/>
                  </a:lnTo>
                  <a:lnTo>
                    <a:pt x="320" y="196"/>
                  </a:lnTo>
                  <a:lnTo>
                    <a:pt x="318" y="202"/>
                  </a:lnTo>
                  <a:lnTo>
                    <a:pt x="316" y="208"/>
                  </a:lnTo>
                  <a:lnTo>
                    <a:pt x="310" y="210"/>
                  </a:lnTo>
                  <a:lnTo>
                    <a:pt x="304" y="212"/>
                  </a:lnTo>
                  <a:lnTo>
                    <a:pt x="212" y="212"/>
                  </a:lnTo>
                  <a:lnTo>
                    <a:pt x="212" y="304"/>
                  </a:lnTo>
                  <a:lnTo>
                    <a:pt x="212" y="304"/>
                  </a:lnTo>
                  <a:lnTo>
                    <a:pt x="210" y="310"/>
                  </a:lnTo>
                  <a:lnTo>
                    <a:pt x="208" y="316"/>
                  </a:lnTo>
                  <a:lnTo>
                    <a:pt x="202" y="318"/>
                  </a:lnTo>
                  <a:lnTo>
                    <a:pt x="196" y="320"/>
                  </a:lnTo>
                  <a:lnTo>
                    <a:pt x="124" y="320"/>
                  </a:lnTo>
                  <a:lnTo>
                    <a:pt x="124" y="320"/>
                  </a:lnTo>
                  <a:lnTo>
                    <a:pt x="118" y="318"/>
                  </a:lnTo>
                  <a:lnTo>
                    <a:pt x="112" y="316"/>
                  </a:lnTo>
                  <a:lnTo>
                    <a:pt x="110" y="310"/>
                  </a:lnTo>
                  <a:lnTo>
                    <a:pt x="108" y="304"/>
                  </a:lnTo>
                  <a:lnTo>
                    <a:pt x="108" y="212"/>
                  </a:lnTo>
                  <a:lnTo>
                    <a:pt x="16" y="212"/>
                  </a:lnTo>
                  <a:lnTo>
                    <a:pt x="16" y="212"/>
                  </a:lnTo>
                  <a:lnTo>
                    <a:pt x="10" y="210"/>
                  </a:lnTo>
                  <a:lnTo>
                    <a:pt x="4" y="208"/>
                  </a:lnTo>
                  <a:lnTo>
                    <a:pt x="2" y="202"/>
                  </a:lnTo>
                  <a:lnTo>
                    <a:pt x="0" y="196"/>
                  </a:lnTo>
                  <a:lnTo>
                    <a:pt x="0" y="124"/>
                  </a:lnTo>
                  <a:lnTo>
                    <a:pt x="0" y="124"/>
                  </a:lnTo>
                  <a:lnTo>
                    <a:pt x="2" y="118"/>
                  </a:lnTo>
                  <a:lnTo>
                    <a:pt x="4" y="112"/>
                  </a:lnTo>
                  <a:lnTo>
                    <a:pt x="10" y="110"/>
                  </a:lnTo>
                  <a:lnTo>
                    <a:pt x="16" y="108"/>
                  </a:lnTo>
                  <a:lnTo>
                    <a:pt x="108" y="108"/>
                  </a:lnTo>
                  <a:lnTo>
                    <a:pt x="108" y="16"/>
                  </a:lnTo>
                  <a:lnTo>
                    <a:pt x="108" y="16"/>
                  </a:lnTo>
                  <a:lnTo>
                    <a:pt x="110" y="10"/>
                  </a:lnTo>
                  <a:lnTo>
                    <a:pt x="112" y="4"/>
                  </a:lnTo>
                  <a:lnTo>
                    <a:pt x="118" y="2"/>
                  </a:lnTo>
                  <a:lnTo>
                    <a:pt x="124" y="0"/>
                  </a:lnTo>
                  <a:lnTo>
                    <a:pt x="196" y="0"/>
                  </a:lnTo>
                  <a:lnTo>
                    <a:pt x="196" y="0"/>
                  </a:lnTo>
                  <a:lnTo>
                    <a:pt x="202" y="2"/>
                  </a:lnTo>
                  <a:lnTo>
                    <a:pt x="208" y="4"/>
                  </a:lnTo>
                  <a:lnTo>
                    <a:pt x="210" y="10"/>
                  </a:lnTo>
                  <a:lnTo>
                    <a:pt x="212" y="16"/>
                  </a:lnTo>
                  <a:lnTo>
                    <a:pt x="212" y="108"/>
                  </a:lnTo>
                  <a:lnTo>
                    <a:pt x="304" y="108"/>
                  </a:lnTo>
                  <a:lnTo>
                    <a:pt x="304" y="108"/>
                  </a:lnTo>
                  <a:lnTo>
                    <a:pt x="310" y="110"/>
                  </a:lnTo>
                  <a:lnTo>
                    <a:pt x="316" y="112"/>
                  </a:lnTo>
                  <a:lnTo>
                    <a:pt x="318" y="118"/>
                  </a:lnTo>
                  <a:lnTo>
                    <a:pt x="320" y="124"/>
                  </a:lnTo>
                  <a:lnTo>
                    <a:pt x="320" y="1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19" name="Rectangle 18"/>
          <p:cNvSpPr/>
          <p:nvPr/>
        </p:nvSpPr>
        <p:spPr>
          <a:xfrm>
            <a:off x="1108364" y="2668931"/>
            <a:ext cx="2862137" cy="3516347"/>
          </a:xfrm>
          <a:prstGeom prst="rect">
            <a:avLst/>
          </a:prstGeom>
        </p:spPr>
        <p:txBody>
          <a:bodyPr wrap="square" anchor="ctr">
            <a:spAutoFit/>
          </a:bodyPr>
          <a:lstStyle/>
          <a:p>
            <a:pPr>
              <a:defRPr/>
            </a:pPr>
            <a:r>
              <a:rPr lang="en-US" sz="1650" b="1" dirty="0">
                <a:solidFill>
                  <a:schemeClr val="tx1">
                    <a:lumMod val="75000"/>
                    <a:lumOff val="25000"/>
                  </a:schemeClr>
                </a:solidFill>
                <a:latin typeface="Domaine Display Bold" panose="020A0803080505060203" pitchFamily="18" charset="0"/>
              </a:rPr>
              <a:t>Costs Savings : technical, analytical, vendor, hardware etc.</a:t>
            </a:r>
          </a:p>
          <a:p>
            <a:pPr>
              <a:defRPr/>
            </a:pPr>
            <a:endParaRPr lang="en-US" sz="800" b="1" dirty="0">
              <a:solidFill>
                <a:schemeClr val="tx1">
                  <a:lumMod val="75000"/>
                  <a:lumOff val="25000"/>
                </a:schemeClr>
              </a:solidFill>
              <a:latin typeface="Domaine Display Bold" panose="020A0803080505060203" pitchFamily="18" charset="0"/>
            </a:endParaRPr>
          </a:p>
          <a:p>
            <a:pPr>
              <a:defRPr/>
            </a:pPr>
            <a:endParaRPr lang="en-US" sz="1650" b="1" dirty="0">
              <a:solidFill>
                <a:schemeClr val="tx1">
                  <a:lumMod val="75000"/>
                  <a:lumOff val="25000"/>
                </a:schemeClr>
              </a:solidFill>
              <a:latin typeface="Domaine Display Bold" panose="020A0803080505060203" pitchFamily="18" charset="0"/>
            </a:endParaRPr>
          </a:p>
          <a:p>
            <a:pPr>
              <a:defRPr/>
            </a:pPr>
            <a:endParaRPr lang="en-US" sz="1650" b="1" dirty="0">
              <a:solidFill>
                <a:schemeClr val="tx1">
                  <a:lumMod val="75000"/>
                  <a:lumOff val="25000"/>
                </a:schemeClr>
              </a:solidFill>
              <a:latin typeface="Domaine Display Bold" panose="020A0803080505060203" pitchFamily="18" charset="0"/>
            </a:endParaRPr>
          </a:p>
          <a:p>
            <a:pPr>
              <a:defRPr/>
            </a:pPr>
            <a:endParaRPr lang="en-US" sz="1650" b="1" dirty="0">
              <a:solidFill>
                <a:schemeClr val="tx1">
                  <a:lumMod val="75000"/>
                  <a:lumOff val="25000"/>
                </a:schemeClr>
              </a:solidFill>
              <a:latin typeface="Domaine Display Bold" panose="020A0803080505060203" pitchFamily="18" charset="0"/>
            </a:endParaRPr>
          </a:p>
          <a:p>
            <a:pPr>
              <a:defRPr/>
            </a:pPr>
            <a:r>
              <a:rPr lang="en-US" sz="1650" b="1" dirty="0">
                <a:solidFill>
                  <a:schemeClr val="tx1">
                    <a:lumMod val="75000"/>
                    <a:lumOff val="25000"/>
                  </a:schemeClr>
                </a:solidFill>
                <a:ea typeface="+mn-lt"/>
                <a:cs typeface="+mn-lt"/>
              </a:rPr>
              <a:t>Synergistic Savings</a:t>
            </a:r>
            <a:endParaRPr lang="en-US" sz="1650" dirty="0">
              <a:solidFill>
                <a:schemeClr val="tx1">
                  <a:lumMod val="75000"/>
                  <a:lumOff val="25000"/>
                </a:schemeClr>
              </a:solidFill>
              <a:ea typeface="+mn-lt"/>
              <a:cs typeface="+mn-lt"/>
            </a:endParaRPr>
          </a:p>
          <a:p>
            <a:pPr>
              <a:defRPr/>
            </a:pPr>
            <a:endParaRPr lang="en-US" sz="1650" b="1" dirty="0">
              <a:solidFill>
                <a:schemeClr val="tx1">
                  <a:lumMod val="75000"/>
                  <a:lumOff val="25000"/>
                </a:schemeClr>
              </a:solidFill>
              <a:latin typeface="Domaine Display Bold" panose="020A0803080505060203" pitchFamily="18" charset="0"/>
            </a:endParaRPr>
          </a:p>
          <a:p>
            <a:pPr>
              <a:defRPr/>
            </a:pPr>
            <a:endParaRPr lang="en-US" sz="1650" b="1" dirty="0">
              <a:solidFill>
                <a:schemeClr val="tx1">
                  <a:lumMod val="75000"/>
                  <a:lumOff val="25000"/>
                </a:schemeClr>
              </a:solidFill>
              <a:latin typeface="Domaine Display Bold" panose="020A0803080505060203" pitchFamily="18" charset="0"/>
            </a:endParaRPr>
          </a:p>
          <a:p>
            <a:pPr>
              <a:defRPr/>
            </a:pPr>
            <a:endParaRPr lang="en-US" sz="1650" b="1" dirty="0">
              <a:solidFill>
                <a:schemeClr val="tx1">
                  <a:lumMod val="75000"/>
                  <a:lumOff val="25000"/>
                </a:schemeClr>
              </a:solidFill>
              <a:latin typeface="Domaine Display Bold" panose="020A0803080505060203" pitchFamily="18" charset="0"/>
            </a:endParaRPr>
          </a:p>
          <a:p>
            <a:pPr>
              <a:defRPr/>
            </a:pPr>
            <a:r>
              <a:rPr lang="en-US" sz="1650" b="1" dirty="0">
                <a:solidFill>
                  <a:schemeClr val="tx1">
                    <a:lumMod val="75000"/>
                    <a:lumOff val="25000"/>
                  </a:schemeClr>
                </a:solidFill>
                <a:latin typeface="Domaine Display Bold" panose="020A0803080505060203" pitchFamily="18" charset="0"/>
              </a:rPr>
              <a:t>Better customer/patient/ member care and experience.</a:t>
            </a:r>
          </a:p>
        </p:txBody>
      </p:sp>
      <p:grpSp>
        <p:nvGrpSpPr>
          <p:cNvPr id="5" name="Group 4">
            <a:extLst>
              <a:ext uri="{FF2B5EF4-FFF2-40B4-BE49-F238E27FC236}">
                <a16:creationId xmlns:a16="http://schemas.microsoft.com/office/drawing/2014/main" id="{B8918087-1A71-46A4-B894-4925630BC4D4}"/>
              </a:ext>
            </a:extLst>
          </p:cNvPr>
          <p:cNvGrpSpPr/>
          <p:nvPr/>
        </p:nvGrpSpPr>
        <p:grpSpPr>
          <a:xfrm>
            <a:off x="557699" y="5433620"/>
            <a:ext cx="550667" cy="569334"/>
            <a:chOff x="561562" y="4867204"/>
            <a:chExt cx="550667" cy="569334"/>
          </a:xfrm>
        </p:grpSpPr>
        <p:sp>
          <p:nvSpPr>
            <p:cNvPr id="18" name="Oval 17"/>
            <p:cNvSpPr/>
            <p:nvPr/>
          </p:nvSpPr>
          <p:spPr>
            <a:xfrm>
              <a:off x="561562" y="4867204"/>
              <a:ext cx="550667" cy="569334"/>
            </a:xfrm>
            <a:prstGeom prst="ellipse">
              <a:avLst/>
            </a:prstGeom>
            <a:solidFill>
              <a:schemeClr val="accent4">
                <a:lumMod val="75000"/>
              </a:schemeClr>
            </a:solidFill>
            <a:ln w="3175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latin typeface="Open Sans Bold"/>
                <a:cs typeface="Open Sans Bold"/>
              </a:endParaRPr>
            </a:p>
          </p:txBody>
        </p:sp>
        <p:sp>
          <p:nvSpPr>
            <p:cNvPr id="20" name="Freeform 4886"/>
            <p:cNvSpPr>
              <a:spLocks/>
            </p:cNvSpPr>
            <p:nvPr/>
          </p:nvSpPr>
          <p:spPr bwMode="auto">
            <a:xfrm>
              <a:off x="691220" y="5006234"/>
              <a:ext cx="291349" cy="291273"/>
            </a:xfrm>
            <a:custGeom>
              <a:avLst/>
              <a:gdLst>
                <a:gd name="T0" fmla="*/ 320 w 320"/>
                <a:gd name="T1" fmla="*/ 124 h 320"/>
                <a:gd name="T2" fmla="*/ 320 w 320"/>
                <a:gd name="T3" fmla="*/ 196 h 320"/>
                <a:gd name="T4" fmla="*/ 320 w 320"/>
                <a:gd name="T5" fmla="*/ 196 h 320"/>
                <a:gd name="T6" fmla="*/ 318 w 320"/>
                <a:gd name="T7" fmla="*/ 202 h 320"/>
                <a:gd name="T8" fmla="*/ 316 w 320"/>
                <a:gd name="T9" fmla="*/ 208 h 320"/>
                <a:gd name="T10" fmla="*/ 310 w 320"/>
                <a:gd name="T11" fmla="*/ 210 h 320"/>
                <a:gd name="T12" fmla="*/ 304 w 320"/>
                <a:gd name="T13" fmla="*/ 212 h 320"/>
                <a:gd name="T14" fmla="*/ 212 w 320"/>
                <a:gd name="T15" fmla="*/ 212 h 320"/>
                <a:gd name="T16" fmla="*/ 212 w 320"/>
                <a:gd name="T17" fmla="*/ 304 h 320"/>
                <a:gd name="T18" fmla="*/ 212 w 320"/>
                <a:gd name="T19" fmla="*/ 304 h 320"/>
                <a:gd name="T20" fmla="*/ 210 w 320"/>
                <a:gd name="T21" fmla="*/ 310 h 320"/>
                <a:gd name="T22" fmla="*/ 208 w 320"/>
                <a:gd name="T23" fmla="*/ 316 h 320"/>
                <a:gd name="T24" fmla="*/ 202 w 320"/>
                <a:gd name="T25" fmla="*/ 318 h 320"/>
                <a:gd name="T26" fmla="*/ 196 w 320"/>
                <a:gd name="T27" fmla="*/ 320 h 320"/>
                <a:gd name="T28" fmla="*/ 124 w 320"/>
                <a:gd name="T29" fmla="*/ 320 h 320"/>
                <a:gd name="T30" fmla="*/ 124 w 320"/>
                <a:gd name="T31" fmla="*/ 320 h 320"/>
                <a:gd name="T32" fmla="*/ 118 w 320"/>
                <a:gd name="T33" fmla="*/ 318 h 320"/>
                <a:gd name="T34" fmla="*/ 112 w 320"/>
                <a:gd name="T35" fmla="*/ 316 h 320"/>
                <a:gd name="T36" fmla="*/ 110 w 320"/>
                <a:gd name="T37" fmla="*/ 310 h 320"/>
                <a:gd name="T38" fmla="*/ 108 w 320"/>
                <a:gd name="T39" fmla="*/ 304 h 320"/>
                <a:gd name="T40" fmla="*/ 108 w 320"/>
                <a:gd name="T41" fmla="*/ 212 h 320"/>
                <a:gd name="T42" fmla="*/ 16 w 320"/>
                <a:gd name="T43" fmla="*/ 212 h 320"/>
                <a:gd name="T44" fmla="*/ 16 w 320"/>
                <a:gd name="T45" fmla="*/ 212 h 320"/>
                <a:gd name="T46" fmla="*/ 10 w 320"/>
                <a:gd name="T47" fmla="*/ 210 h 320"/>
                <a:gd name="T48" fmla="*/ 4 w 320"/>
                <a:gd name="T49" fmla="*/ 208 h 320"/>
                <a:gd name="T50" fmla="*/ 2 w 320"/>
                <a:gd name="T51" fmla="*/ 202 h 320"/>
                <a:gd name="T52" fmla="*/ 0 w 320"/>
                <a:gd name="T53" fmla="*/ 196 h 320"/>
                <a:gd name="T54" fmla="*/ 0 w 320"/>
                <a:gd name="T55" fmla="*/ 124 h 320"/>
                <a:gd name="T56" fmla="*/ 0 w 320"/>
                <a:gd name="T57" fmla="*/ 124 h 320"/>
                <a:gd name="T58" fmla="*/ 2 w 320"/>
                <a:gd name="T59" fmla="*/ 118 h 320"/>
                <a:gd name="T60" fmla="*/ 4 w 320"/>
                <a:gd name="T61" fmla="*/ 112 h 320"/>
                <a:gd name="T62" fmla="*/ 10 w 320"/>
                <a:gd name="T63" fmla="*/ 110 h 320"/>
                <a:gd name="T64" fmla="*/ 16 w 320"/>
                <a:gd name="T65" fmla="*/ 108 h 320"/>
                <a:gd name="T66" fmla="*/ 108 w 320"/>
                <a:gd name="T67" fmla="*/ 108 h 320"/>
                <a:gd name="T68" fmla="*/ 108 w 320"/>
                <a:gd name="T69" fmla="*/ 16 h 320"/>
                <a:gd name="T70" fmla="*/ 108 w 320"/>
                <a:gd name="T71" fmla="*/ 16 h 320"/>
                <a:gd name="T72" fmla="*/ 110 w 320"/>
                <a:gd name="T73" fmla="*/ 10 h 320"/>
                <a:gd name="T74" fmla="*/ 112 w 320"/>
                <a:gd name="T75" fmla="*/ 4 h 320"/>
                <a:gd name="T76" fmla="*/ 118 w 320"/>
                <a:gd name="T77" fmla="*/ 2 h 320"/>
                <a:gd name="T78" fmla="*/ 124 w 320"/>
                <a:gd name="T79" fmla="*/ 0 h 320"/>
                <a:gd name="T80" fmla="*/ 196 w 320"/>
                <a:gd name="T81" fmla="*/ 0 h 320"/>
                <a:gd name="T82" fmla="*/ 196 w 320"/>
                <a:gd name="T83" fmla="*/ 0 h 320"/>
                <a:gd name="T84" fmla="*/ 202 w 320"/>
                <a:gd name="T85" fmla="*/ 2 h 320"/>
                <a:gd name="T86" fmla="*/ 208 w 320"/>
                <a:gd name="T87" fmla="*/ 4 h 320"/>
                <a:gd name="T88" fmla="*/ 210 w 320"/>
                <a:gd name="T89" fmla="*/ 10 h 320"/>
                <a:gd name="T90" fmla="*/ 212 w 320"/>
                <a:gd name="T91" fmla="*/ 16 h 320"/>
                <a:gd name="T92" fmla="*/ 212 w 320"/>
                <a:gd name="T93" fmla="*/ 108 h 320"/>
                <a:gd name="T94" fmla="*/ 304 w 320"/>
                <a:gd name="T95" fmla="*/ 108 h 320"/>
                <a:gd name="T96" fmla="*/ 304 w 320"/>
                <a:gd name="T97" fmla="*/ 108 h 320"/>
                <a:gd name="T98" fmla="*/ 310 w 320"/>
                <a:gd name="T99" fmla="*/ 110 h 320"/>
                <a:gd name="T100" fmla="*/ 316 w 320"/>
                <a:gd name="T101" fmla="*/ 112 h 320"/>
                <a:gd name="T102" fmla="*/ 318 w 320"/>
                <a:gd name="T103" fmla="*/ 118 h 320"/>
                <a:gd name="T104" fmla="*/ 320 w 320"/>
                <a:gd name="T105" fmla="*/ 124 h 320"/>
                <a:gd name="T106" fmla="*/ 320 w 320"/>
                <a:gd name="T107" fmla="*/ 1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0" h="320">
                  <a:moveTo>
                    <a:pt x="320" y="124"/>
                  </a:moveTo>
                  <a:lnTo>
                    <a:pt x="320" y="196"/>
                  </a:lnTo>
                  <a:lnTo>
                    <a:pt x="320" y="196"/>
                  </a:lnTo>
                  <a:lnTo>
                    <a:pt x="318" y="202"/>
                  </a:lnTo>
                  <a:lnTo>
                    <a:pt x="316" y="208"/>
                  </a:lnTo>
                  <a:lnTo>
                    <a:pt x="310" y="210"/>
                  </a:lnTo>
                  <a:lnTo>
                    <a:pt x="304" y="212"/>
                  </a:lnTo>
                  <a:lnTo>
                    <a:pt x="212" y="212"/>
                  </a:lnTo>
                  <a:lnTo>
                    <a:pt x="212" y="304"/>
                  </a:lnTo>
                  <a:lnTo>
                    <a:pt x="212" y="304"/>
                  </a:lnTo>
                  <a:lnTo>
                    <a:pt x="210" y="310"/>
                  </a:lnTo>
                  <a:lnTo>
                    <a:pt x="208" y="316"/>
                  </a:lnTo>
                  <a:lnTo>
                    <a:pt x="202" y="318"/>
                  </a:lnTo>
                  <a:lnTo>
                    <a:pt x="196" y="320"/>
                  </a:lnTo>
                  <a:lnTo>
                    <a:pt x="124" y="320"/>
                  </a:lnTo>
                  <a:lnTo>
                    <a:pt x="124" y="320"/>
                  </a:lnTo>
                  <a:lnTo>
                    <a:pt x="118" y="318"/>
                  </a:lnTo>
                  <a:lnTo>
                    <a:pt x="112" y="316"/>
                  </a:lnTo>
                  <a:lnTo>
                    <a:pt x="110" y="310"/>
                  </a:lnTo>
                  <a:lnTo>
                    <a:pt x="108" y="304"/>
                  </a:lnTo>
                  <a:lnTo>
                    <a:pt x="108" y="212"/>
                  </a:lnTo>
                  <a:lnTo>
                    <a:pt x="16" y="212"/>
                  </a:lnTo>
                  <a:lnTo>
                    <a:pt x="16" y="212"/>
                  </a:lnTo>
                  <a:lnTo>
                    <a:pt x="10" y="210"/>
                  </a:lnTo>
                  <a:lnTo>
                    <a:pt x="4" y="208"/>
                  </a:lnTo>
                  <a:lnTo>
                    <a:pt x="2" y="202"/>
                  </a:lnTo>
                  <a:lnTo>
                    <a:pt x="0" y="196"/>
                  </a:lnTo>
                  <a:lnTo>
                    <a:pt x="0" y="124"/>
                  </a:lnTo>
                  <a:lnTo>
                    <a:pt x="0" y="124"/>
                  </a:lnTo>
                  <a:lnTo>
                    <a:pt x="2" y="118"/>
                  </a:lnTo>
                  <a:lnTo>
                    <a:pt x="4" y="112"/>
                  </a:lnTo>
                  <a:lnTo>
                    <a:pt x="10" y="110"/>
                  </a:lnTo>
                  <a:lnTo>
                    <a:pt x="16" y="108"/>
                  </a:lnTo>
                  <a:lnTo>
                    <a:pt x="108" y="108"/>
                  </a:lnTo>
                  <a:lnTo>
                    <a:pt x="108" y="16"/>
                  </a:lnTo>
                  <a:lnTo>
                    <a:pt x="108" y="16"/>
                  </a:lnTo>
                  <a:lnTo>
                    <a:pt x="110" y="10"/>
                  </a:lnTo>
                  <a:lnTo>
                    <a:pt x="112" y="4"/>
                  </a:lnTo>
                  <a:lnTo>
                    <a:pt x="118" y="2"/>
                  </a:lnTo>
                  <a:lnTo>
                    <a:pt x="124" y="0"/>
                  </a:lnTo>
                  <a:lnTo>
                    <a:pt x="196" y="0"/>
                  </a:lnTo>
                  <a:lnTo>
                    <a:pt x="196" y="0"/>
                  </a:lnTo>
                  <a:lnTo>
                    <a:pt x="202" y="2"/>
                  </a:lnTo>
                  <a:lnTo>
                    <a:pt x="208" y="4"/>
                  </a:lnTo>
                  <a:lnTo>
                    <a:pt x="210" y="10"/>
                  </a:lnTo>
                  <a:lnTo>
                    <a:pt x="212" y="16"/>
                  </a:lnTo>
                  <a:lnTo>
                    <a:pt x="212" y="108"/>
                  </a:lnTo>
                  <a:lnTo>
                    <a:pt x="304" y="108"/>
                  </a:lnTo>
                  <a:lnTo>
                    <a:pt x="304" y="108"/>
                  </a:lnTo>
                  <a:lnTo>
                    <a:pt x="310" y="110"/>
                  </a:lnTo>
                  <a:lnTo>
                    <a:pt x="316" y="112"/>
                  </a:lnTo>
                  <a:lnTo>
                    <a:pt x="318" y="118"/>
                  </a:lnTo>
                  <a:lnTo>
                    <a:pt x="320" y="124"/>
                  </a:lnTo>
                  <a:lnTo>
                    <a:pt x="320" y="1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3507144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457200" y="296379"/>
            <a:ext cx="10070123" cy="476805"/>
          </a:xfrm>
        </p:spPr>
        <p:txBody>
          <a:bodyPr/>
          <a:lstStyle/>
          <a:p>
            <a:r>
              <a:rPr lang="en-US" dirty="0">
                <a:latin typeface="Arial" panose="020B0604020202020204" pitchFamily="34" charset="0"/>
                <a:ea typeface="Helvetica Neue" panose="02000503000000020004" pitchFamily="2" charset="0"/>
                <a:cs typeface="Arial" panose="020B0604020202020204" pitchFamily="34" charset="0"/>
              </a:rPr>
              <a:t>Why is it important to CVS Health?</a:t>
            </a:r>
            <a:endParaRPr lang="en-US" dirty="0">
              <a:latin typeface="Arial" panose="020B0604020202020204" pitchFamily="34" charset="0"/>
              <a:cs typeface="Arial" panose="020B0604020202020204" pitchFamily="34" charset="0"/>
            </a:endParaRPr>
          </a:p>
        </p:txBody>
      </p:sp>
      <p:sp>
        <p:nvSpPr>
          <p:cNvPr id="4" name="Title 1">
            <a:extLst>
              <a:ext uri="{FF2B5EF4-FFF2-40B4-BE49-F238E27FC236}">
                <a16:creationId xmlns:a16="http://schemas.microsoft.com/office/drawing/2014/main" id="{19295157-1AFA-984A-8ED1-5DE6D1BAEBE9}"/>
              </a:ext>
            </a:extLst>
          </p:cNvPr>
          <p:cNvSpPr txBox="1">
            <a:spLocks/>
          </p:cNvSpPr>
          <p:nvPr/>
        </p:nvSpPr>
        <p:spPr>
          <a:xfrm>
            <a:off x="1258327" y="1748964"/>
            <a:ext cx="4198067" cy="292944"/>
          </a:xfrm>
          <a:prstGeom prst="rect">
            <a:avLst/>
          </a:prstGeom>
        </p:spPr>
        <p:txBody>
          <a:bodyPr vert="horz" lIns="0" tIns="0" rIns="68580" bIns="0" rtlCol="0" anchor="t" anchorCtr="0">
            <a:noAutofit/>
          </a:bodyPr>
          <a:lstStyle>
            <a:lvl1pPr algn="l" defTabSz="457200" rtl="0" eaLnBrk="1" latinLnBrk="0" hangingPunct="1">
              <a:lnSpc>
                <a:spcPct val="90000"/>
              </a:lnSpc>
              <a:spcBef>
                <a:spcPct val="0"/>
              </a:spcBef>
              <a:buNone/>
              <a:defRPr sz="2600" b="1" kern="1200">
                <a:solidFill>
                  <a:schemeClr val="tx1"/>
                </a:solidFill>
                <a:latin typeface="+mj-lt"/>
                <a:ea typeface="+mj-ea"/>
                <a:cs typeface="+mj-cs"/>
              </a:defRPr>
            </a:lvl1pPr>
          </a:lstStyle>
          <a:p>
            <a:pPr marL="0" marR="0" lvl="0" indent="0" algn="ctr" defTabSz="457189" rtl="0" eaLnBrk="1" fontAlgn="auto" latinLnBrk="0" hangingPunct="1">
              <a:lnSpc>
                <a:spcPct val="90000"/>
              </a:lnSpc>
              <a:spcBef>
                <a:spcPct val="0"/>
              </a:spcBef>
              <a:spcAft>
                <a:spcPts val="0"/>
              </a:spcAft>
              <a:buClrTx/>
              <a:buSzTx/>
              <a:buFontTx/>
              <a:buNone/>
              <a:tabLst/>
              <a:defRPr/>
            </a:pPr>
            <a:r>
              <a:rPr kumimoji="0" lang="en-US" sz="1950" b="1" i="0" u="none" strike="noStrike" kern="120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sym typeface="Helvetica Light"/>
              </a:rPr>
              <a:t>Our Strategic Imperatives</a:t>
            </a:r>
          </a:p>
        </p:txBody>
      </p:sp>
      <p:sp>
        <p:nvSpPr>
          <p:cNvPr id="5" name="TextBox 4">
            <a:extLst>
              <a:ext uri="{FF2B5EF4-FFF2-40B4-BE49-F238E27FC236}">
                <a16:creationId xmlns:a16="http://schemas.microsoft.com/office/drawing/2014/main" id="{5FDE9217-A6C0-944B-A259-24A06FEF5407}"/>
              </a:ext>
            </a:extLst>
          </p:cNvPr>
          <p:cNvSpPr txBox="1"/>
          <p:nvPr/>
        </p:nvSpPr>
        <p:spPr>
          <a:xfrm>
            <a:off x="1247317" y="2035704"/>
            <a:ext cx="4198067" cy="246221"/>
          </a:xfrm>
          <a:prstGeom prst="rect">
            <a:avLst/>
          </a:prstGeom>
          <a:noFill/>
        </p:spPr>
        <p:txBody>
          <a:bodyPr wrap="square" lIns="0" tIns="0" rIns="0" bIns="0"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CC0000"/>
                </a:solidFill>
                <a:effectLst/>
                <a:uLnTx/>
                <a:uFillTx/>
                <a:latin typeface="Arial" panose="020B0604020202020204" pitchFamily="34" charset="0"/>
                <a:ea typeface="+mn-ea"/>
                <a:cs typeface="Arial" panose="020B0604020202020204" pitchFamily="34" charset="0"/>
                <a:sym typeface="Helvetica Light"/>
              </a:rPr>
              <a:t>Start with the consumer …</a:t>
            </a:r>
          </a:p>
        </p:txBody>
      </p:sp>
      <p:cxnSp>
        <p:nvCxnSpPr>
          <p:cNvPr id="7" name="Straight Connector 6">
            <a:extLst>
              <a:ext uri="{FF2B5EF4-FFF2-40B4-BE49-F238E27FC236}">
                <a16:creationId xmlns:a16="http://schemas.microsoft.com/office/drawing/2014/main" id="{448F8278-0281-0B4A-B31D-2F9579743FCD}"/>
              </a:ext>
            </a:extLst>
          </p:cNvPr>
          <p:cNvCxnSpPr>
            <a:cxnSpLocks/>
          </p:cNvCxnSpPr>
          <p:nvPr/>
        </p:nvCxnSpPr>
        <p:spPr bwMode="gray">
          <a:xfrm>
            <a:off x="484820" y="2335402"/>
            <a:ext cx="5630966" cy="0"/>
          </a:xfrm>
          <a:prstGeom prst="line">
            <a:avLst/>
          </a:prstGeom>
          <a:ln w="28575" cmpd="sng">
            <a:solidFill>
              <a:schemeClr val="tx2"/>
            </a:solidFill>
            <a:miter lim="800000"/>
          </a:ln>
          <a:effectLst/>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1369E8F2-760A-E14C-A794-DB2608FAF8A1}"/>
              </a:ext>
            </a:extLst>
          </p:cNvPr>
          <p:cNvSpPr txBox="1"/>
          <p:nvPr/>
        </p:nvSpPr>
        <p:spPr>
          <a:xfrm>
            <a:off x="6485890" y="2036807"/>
            <a:ext cx="5035371" cy="246221"/>
          </a:xfrm>
          <a:prstGeom prst="rect">
            <a:avLst/>
          </a:prstGeom>
          <a:noFill/>
        </p:spPr>
        <p:txBody>
          <a:bodyPr wrap="square" lIns="0" tIns="0" rIns="0" bIns="0"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CC0000"/>
                </a:solidFill>
                <a:effectLst/>
                <a:uLnTx/>
                <a:uFillTx/>
                <a:latin typeface="Arial" panose="020B0604020202020204" pitchFamily="34" charset="0"/>
                <a:ea typeface="+mn-ea"/>
                <a:cs typeface="Arial" panose="020B0604020202020204" pitchFamily="34" charset="0"/>
                <a:sym typeface="Helvetica Light"/>
              </a:rPr>
              <a:t>… to transform our business and industry.</a:t>
            </a:r>
          </a:p>
        </p:txBody>
      </p:sp>
      <p:cxnSp>
        <p:nvCxnSpPr>
          <p:cNvPr id="9" name="Straight Connector 8">
            <a:extLst>
              <a:ext uri="{FF2B5EF4-FFF2-40B4-BE49-F238E27FC236}">
                <a16:creationId xmlns:a16="http://schemas.microsoft.com/office/drawing/2014/main" id="{B865B19A-51DB-C943-963C-F4C0E2202868}"/>
              </a:ext>
            </a:extLst>
          </p:cNvPr>
          <p:cNvCxnSpPr>
            <a:cxnSpLocks/>
          </p:cNvCxnSpPr>
          <p:nvPr/>
        </p:nvCxnSpPr>
        <p:spPr bwMode="gray">
          <a:xfrm flipV="1">
            <a:off x="6188093" y="2314084"/>
            <a:ext cx="5630966" cy="23972"/>
          </a:xfrm>
          <a:prstGeom prst="line">
            <a:avLst/>
          </a:prstGeom>
          <a:ln w="28575" cmpd="sng">
            <a:solidFill>
              <a:schemeClr val="tx2"/>
            </a:solidFill>
            <a:miter lim="800000"/>
          </a:ln>
          <a:effectLst/>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C22A95C4-8061-354E-9A3D-D259261B08E9}"/>
              </a:ext>
            </a:extLst>
          </p:cNvPr>
          <p:cNvSpPr txBox="1"/>
          <p:nvPr/>
        </p:nvSpPr>
        <p:spPr>
          <a:xfrm>
            <a:off x="763007" y="3226573"/>
            <a:ext cx="1325848" cy="638636"/>
          </a:xfrm>
          <a:prstGeom prst="rect">
            <a:avLst/>
          </a:prstGeom>
          <a:noFill/>
        </p:spPr>
        <p:txBody>
          <a:bodyPr wrap="square" lIns="0" tIns="0" rIns="0" bIns="0" rtlCol="0">
            <a:spAutoFit/>
          </a:bodyPr>
          <a:lstStyle/>
          <a:p>
            <a:pPr marL="0" marR="0" lvl="0" indent="0" algn="ctr" defTabSz="457189" rtl="0" eaLnBrk="1" fontAlgn="auto" latinLnBrk="0" hangingPunct="1">
              <a:lnSpc>
                <a:spcPts val="12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Helvetica Light"/>
              </a:rPr>
              <a:t>Be local</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Helvetica Light"/>
              </a:rPr>
              <a:t>Engage people with </a:t>
            </a:r>
            <a:b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Helvetica Light"/>
              </a:rPr>
            </a:b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Helvetica Light"/>
              </a:rPr>
              <a:t>the care they need </a:t>
            </a:r>
            <a:b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Helvetica Light"/>
              </a:rPr>
            </a:b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Helvetica Light"/>
              </a:rPr>
              <a:t>where they need it</a:t>
            </a:r>
          </a:p>
        </p:txBody>
      </p:sp>
      <p:sp>
        <p:nvSpPr>
          <p:cNvPr id="11" name="TextBox 10">
            <a:extLst>
              <a:ext uri="{FF2B5EF4-FFF2-40B4-BE49-F238E27FC236}">
                <a16:creationId xmlns:a16="http://schemas.microsoft.com/office/drawing/2014/main" id="{A0306540-68B3-7F49-AE1B-8B6C61BDC16E}"/>
              </a:ext>
            </a:extLst>
          </p:cNvPr>
          <p:cNvSpPr txBox="1"/>
          <p:nvPr/>
        </p:nvSpPr>
        <p:spPr>
          <a:xfrm>
            <a:off x="4383250" y="3258215"/>
            <a:ext cx="1562126" cy="638636"/>
          </a:xfrm>
          <a:prstGeom prst="rect">
            <a:avLst/>
          </a:prstGeom>
          <a:noFill/>
        </p:spPr>
        <p:txBody>
          <a:bodyPr wrap="square" lIns="0" tIns="0" rIns="0" bIns="0" rtlCol="0">
            <a:spAutoFit/>
          </a:bodyPr>
          <a:lstStyle/>
          <a:p>
            <a:pPr marL="0" marR="0" lvl="0" indent="0" algn="ctr" defTabSz="457189" rtl="0" eaLnBrk="1" fontAlgn="auto" latinLnBrk="0" hangingPunct="1">
              <a:lnSpc>
                <a:spcPts val="12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Helvetica Light"/>
              </a:rPr>
              <a:t>Improve health</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Helvetica Light"/>
              </a:rPr>
              <a:t>Help people </a:t>
            </a:r>
            <a:b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Helvetica Light"/>
              </a:rPr>
            </a:b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Helvetica Light"/>
              </a:rPr>
              <a:t>achieve better health </a:t>
            </a:r>
            <a:b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Helvetica Light"/>
              </a:rPr>
            </a:b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Helvetica Light"/>
              </a:rPr>
              <a:t>at a lower cost</a:t>
            </a:r>
          </a:p>
        </p:txBody>
      </p:sp>
      <p:sp>
        <p:nvSpPr>
          <p:cNvPr id="12" name="TextBox 11">
            <a:extLst>
              <a:ext uri="{FF2B5EF4-FFF2-40B4-BE49-F238E27FC236}">
                <a16:creationId xmlns:a16="http://schemas.microsoft.com/office/drawing/2014/main" id="{3480F4EB-2C68-0949-B99B-CC68E46DC941}"/>
              </a:ext>
            </a:extLst>
          </p:cNvPr>
          <p:cNvSpPr txBox="1"/>
          <p:nvPr/>
        </p:nvSpPr>
        <p:spPr>
          <a:xfrm>
            <a:off x="2625469" y="3263594"/>
            <a:ext cx="1325848" cy="477054"/>
          </a:xfrm>
          <a:prstGeom prst="rect">
            <a:avLst/>
          </a:prstGeom>
          <a:noFill/>
        </p:spPr>
        <p:txBody>
          <a:bodyPr wrap="square" lIns="0" tIns="0" rIns="0" bIns="0" rtlCol="0">
            <a:spAutoFit/>
          </a:bodyPr>
          <a:lstStyle/>
          <a:p>
            <a:pPr marL="0" marR="0" lvl="0" indent="0" algn="ctr" defTabSz="457189" rtl="0" eaLnBrk="1" fontAlgn="auto" latinLnBrk="0" hangingPunct="1">
              <a:lnSpc>
                <a:spcPts val="12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 Light"/>
              </a:rPr>
              <a:t>Make it simple</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Helvetica Light"/>
              </a:rPr>
              <a:t>Make a complicated </a:t>
            </a:r>
            <a:b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Helvetica Light"/>
              </a:rPr>
            </a:b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Helvetica Light"/>
              </a:rPr>
              <a:t>system easier for all</a:t>
            </a:r>
          </a:p>
        </p:txBody>
      </p:sp>
      <p:sp>
        <p:nvSpPr>
          <p:cNvPr id="13" name="Freeform 21">
            <a:extLst>
              <a:ext uri="{FF2B5EF4-FFF2-40B4-BE49-F238E27FC236}">
                <a16:creationId xmlns:a16="http://schemas.microsoft.com/office/drawing/2014/main" id="{FD1ED530-CAB8-EC42-84B4-E31A736F758C}"/>
              </a:ext>
            </a:extLst>
          </p:cNvPr>
          <p:cNvSpPr>
            <a:spLocks noChangeAspect="1" noEditPoints="1"/>
          </p:cNvSpPr>
          <p:nvPr/>
        </p:nvSpPr>
        <p:spPr bwMode="auto">
          <a:xfrm>
            <a:off x="1292670" y="2725404"/>
            <a:ext cx="266522" cy="389636"/>
          </a:xfrm>
          <a:custGeom>
            <a:avLst/>
            <a:gdLst>
              <a:gd name="T0" fmla="*/ 1760 w 3544"/>
              <a:gd name="T1" fmla="*/ 5186 h 5186"/>
              <a:gd name="T2" fmla="*/ 237 w 3544"/>
              <a:gd name="T3" fmla="*/ 2658 h 5186"/>
              <a:gd name="T4" fmla="*/ 0 w 3544"/>
              <a:gd name="T5" fmla="*/ 1772 h 5186"/>
              <a:gd name="T6" fmla="*/ 139 w 3544"/>
              <a:gd name="T7" fmla="*/ 1083 h 5186"/>
              <a:gd name="T8" fmla="*/ 519 w 3544"/>
              <a:gd name="T9" fmla="*/ 519 h 5186"/>
              <a:gd name="T10" fmla="*/ 1082 w 3544"/>
              <a:gd name="T11" fmla="*/ 139 h 5186"/>
              <a:gd name="T12" fmla="*/ 1772 w 3544"/>
              <a:gd name="T13" fmla="*/ 0 h 5186"/>
              <a:gd name="T14" fmla="*/ 2462 w 3544"/>
              <a:gd name="T15" fmla="*/ 139 h 5186"/>
              <a:gd name="T16" fmla="*/ 3025 w 3544"/>
              <a:gd name="T17" fmla="*/ 519 h 5186"/>
              <a:gd name="T18" fmla="*/ 3405 w 3544"/>
              <a:gd name="T19" fmla="*/ 1083 h 5186"/>
              <a:gd name="T20" fmla="*/ 3544 w 3544"/>
              <a:gd name="T21" fmla="*/ 1772 h 5186"/>
              <a:gd name="T22" fmla="*/ 3446 w 3544"/>
              <a:gd name="T23" fmla="*/ 2319 h 5186"/>
              <a:gd name="T24" fmla="*/ 3203 w 3544"/>
              <a:gd name="T25" fmla="*/ 2816 h 5186"/>
              <a:gd name="T26" fmla="*/ 3202 w 3544"/>
              <a:gd name="T27" fmla="*/ 2819 h 5186"/>
              <a:gd name="T28" fmla="*/ 1760 w 3544"/>
              <a:gd name="T29" fmla="*/ 5186 h 5186"/>
              <a:gd name="T30" fmla="*/ 431 w 3544"/>
              <a:gd name="T31" fmla="*/ 2544 h 5186"/>
              <a:gd name="T32" fmla="*/ 1761 w 3544"/>
              <a:gd name="T33" fmla="*/ 4752 h 5186"/>
              <a:gd name="T34" fmla="*/ 3009 w 3544"/>
              <a:gd name="T35" fmla="*/ 2703 h 5186"/>
              <a:gd name="T36" fmla="*/ 3319 w 3544"/>
              <a:gd name="T37" fmla="*/ 1772 h 5186"/>
              <a:gd name="T38" fmla="*/ 1772 w 3544"/>
              <a:gd name="T39" fmla="*/ 225 h 5186"/>
              <a:gd name="T40" fmla="*/ 225 w 3544"/>
              <a:gd name="T41" fmla="*/ 1772 h 5186"/>
              <a:gd name="T42" fmla="*/ 431 w 3544"/>
              <a:gd name="T43" fmla="*/ 2544 h 5186"/>
              <a:gd name="T44" fmla="*/ 1785 w 3544"/>
              <a:gd name="T45" fmla="*/ 2799 h 5186"/>
              <a:gd name="T46" fmla="*/ 872 w 3544"/>
              <a:gd name="T47" fmla="*/ 1884 h 5186"/>
              <a:gd name="T48" fmla="*/ 778 w 3544"/>
              <a:gd name="T49" fmla="*/ 1657 h 5186"/>
              <a:gd name="T50" fmla="*/ 872 w 3544"/>
              <a:gd name="T51" fmla="*/ 1430 h 5186"/>
              <a:gd name="T52" fmla="*/ 1167 w 3544"/>
              <a:gd name="T53" fmla="*/ 1135 h 5186"/>
              <a:gd name="T54" fmla="*/ 1394 w 3544"/>
              <a:gd name="T55" fmla="*/ 1041 h 5186"/>
              <a:gd name="T56" fmla="*/ 1622 w 3544"/>
              <a:gd name="T57" fmla="*/ 1135 h 5186"/>
              <a:gd name="T58" fmla="*/ 1785 w 3544"/>
              <a:gd name="T59" fmla="*/ 1298 h 5186"/>
              <a:gd name="T60" fmla="*/ 1948 w 3544"/>
              <a:gd name="T61" fmla="*/ 1135 h 5186"/>
              <a:gd name="T62" fmla="*/ 2175 w 3544"/>
              <a:gd name="T63" fmla="*/ 1041 h 5186"/>
              <a:gd name="T64" fmla="*/ 2403 w 3544"/>
              <a:gd name="T65" fmla="*/ 1135 h 5186"/>
              <a:gd name="T66" fmla="*/ 2698 w 3544"/>
              <a:gd name="T67" fmla="*/ 1430 h 5186"/>
              <a:gd name="T68" fmla="*/ 2698 w 3544"/>
              <a:gd name="T69" fmla="*/ 1884 h 5186"/>
              <a:gd name="T70" fmla="*/ 1785 w 3544"/>
              <a:gd name="T71" fmla="*/ 2799 h 5186"/>
              <a:gd name="T72" fmla="*/ 1394 w 3544"/>
              <a:gd name="T73" fmla="*/ 1266 h 5186"/>
              <a:gd name="T74" fmla="*/ 1326 w 3544"/>
              <a:gd name="T75" fmla="*/ 1294 h 5186"/>
              <a:gd name="T76" fmla="*/ 1031 w 3544"/>
              <a:gd name="T77" fmla="*/ 1589 h 5186"/>
              <a:gd name="T78" fmla="*/ 1003 w 3544"/>
              <a:gd name="T79" fmla="*/ 1657 h 5186"/>
              <a:gd name="T80" fmla="*/ 1031 w 3544"/>
              <a:gd name="T81" fmla="*/ 1725 h 5186"/>
              <a:gd name="T82" fmla="*/ 1785 w 3544"/>
              <a:gd name="T83" fmla="*/ 2480 h 5186"/>
              <a:gd name="T84" fmla="*/ 2539 w 3544"/>
              <a:gd name="T85" fmla="*/ 1725 h 5186"/>
              <a:gd name="T86" fmla="*/ 2539 w 3544"/>
              <a:gd name="T87" fmla="*/ 1589 h 5186"/>
              <a:gd name="T88" fmla="*/ 2243 w 3544"/>
              <a:gd name="T89" fmla="*/ 1294 h 5186"/>
              <a:gd name="T90" fmla="*/ 2175 w 3544"/>
              <a:gd name="T91" fmla="*/ 1266 h 5186"/>
              <a:gd name="T92" fmla="*/ 2107 w 3544"/>
              <a:gd name="T93" fmla="*/ 1294 h 5186"/>
              <a:gd name="T94" fmla="*/ 1785 w 3544"/>
              <a:gd name="T95" fmla="*/ 1616 h 5186"/>
              <a:gd name="T96" fmla="*/ 1462 w 3544"/>
              <a:gd name="T97" fmla="*/ 1294 h 5186"/>
              <a:gd name="T98" fmla="*/ 1394 w 3544"/>
              <a:gd name="T99" fmla="*/ 1266 h 5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544" h="5186">
                <a:moveTo>
                  <a:pt x="1760" y="5186"/>
                </a:moveTo>
                <a:cubicBezTo>
                  <a:pt x="237" y="2658"/>
                  <a:pt x="237" y="2658"/>
                  <a:pt x="237" y="2658"/>
                </a:cubicBezTo>
                <a:cubicBezTo>
                  <a:pt x="82" y="2390"/>
                  <a:pt x="0" y="2083"/>
                  <a:pt x="0" y="1772"/>
                </a:cubicBezTo>
                <a:cubicBezTo>
                  <a:pt x="0" y="1533"/>
                  <a:pt x="47" y="1301"/>
                  <a:pt x="139" y="1083"/>
                </a:cubicBezTo>
                <a:cubicBezTo>
                  <a:pt x="228" y="871"/>
                  <a:pt x="356" y="682"/>
                  <a:pt x="519" y="519"/>
                </a:cubicBezTo>
                <a:cubicBezTo>
                  <a:pt x="682" y="357"/>
                  <a:pt x="871" y="229"/>
                  <a:pt x="1082" y="139"/>
                </a:cubicBezTo>
                <a:cubicBezTo>
                  <a:pt x="1301" y="47"/>
                  <a:pt x="1533" y="0"/>
                  <a:pt x="1772" y="0"/>
                </a:cubicBezTo>
                <a:cubicBezTo>
                  <a:pt x="2011" y="0"/>
                  <a:pt x="2243" y="47"/>
                  <a:pt x="2462" y="139"/>
                </a:cubicBezTo>
                <a:cubicBezTo>
                  <a:pt x="2673" y="229"/>
                  <a:pt x="2862" y="357"/>
                  <a:pt x="3025" y="519"/>
                </a:cubicBezTo>
                <a:cubicBezTo>
                  <a:pt x="3188" y="682"/>
                  <a:pt x="3316" y="871"/>
                  <a:pt x="3405" y="1083"/>
                </a:cubicBezTo>
                <a:cubicBezTo>
                  <a:pt x="3497" y="1301"/>
                  <a:pt x="3544" y="1533"/>
                  <a:pt x="3544" y="1772"/>
                </a:cubicBezTo>
                <a:cubicBezTo>
                  <a:pt x="3544" y="1958"/>
                  <a:pt x="3512" y="2136"/>
                  <a:pt x="3446" y="2319"/>
                </a:cubicBezTo>
                <a:cubicBezTo>
                  <a:pt x="3381" y="2498"/>
                  <a:pt x="3291" y="2663"/>
                  <a:pt x="3203" y="2816"/>
                </a:cubicBezTo>
                <a:cubicBezTo>
                  <a:pt x="3202" y="2819"/>
                  <a:pt x="3202" y="2819"/>
                  <a:pt x="3202" y="2819"/>
                </a:cubicBezTo>
                <a:cubicBezTo>
                  <a:pt x="1760" y="5186"/>
                  <a:pt x="1760" y="5186"/>
                  <a:pt x="1760" y="5186"/>
                </a:cubicBezTo>
                <a:close/>
                <a:moveTo>
                  <a:pt x="431" y="2544"/>
                </a:moveTo>
                <a:cubicBezTo>
                  <a:pt x="1761" y="4752"/>
                  <a:pt x="1761" y="4752"/>
                  <a:pt x="1761" y="4752"/>
                </a:cubicBezTo>
                <a:cubicBezTo>
                  <a:pt x="3009" y="2703"/>
                  <a:pt x="3009" y="2703"/>
                  <a:pt x="3009" y="2703"/>
                </a:cubicBezTo>
                <a:cubicBezTo>
                  <a:pt x="3205" y="2361"/>
                  <a:pt x="3319" y="2099"/>
                  <a:pt x="3319" y="1772"/>
                </a:cubicBezTo>
                <a:cubicBezTo>
                  <a:pt x="3319" y="919"/>
                  <a:pt x="2625" y="225"/>
                  <a:pt x="1772" y="225"/>
                </a:cubicBezTo>
                <a:cubicBezTo>
                  <a:pt x="919" y="225"/>
                  <a:pt x="225" y="919"/>
                  <a:pt x="225" y="1772"/>
                </a:cubicBezTo>
                <a:cubicBezTo>
                  <a:pt x="225" y="2043"/>
                  <a:pt x="296" y="2310"/>
                  <a:pt x="431" y="2544"/>
                </a:cubicBezTo>
                <a:close/>
                <a:moveTo>
                  <a:pt x="1785" y="2799"/>
                </a:moveTo>
                <a:cubicBezTo>
                  <a:pt x="872" y="1884"/>
                  <a:pt x="872" y="1884"/>
                  <a:pt x="872" y="1884"/>
                </a:cubicBezTo>
                <a:cubicBezTo>
                  <a:pt x="811" y="1824"/>
                  <a:pt x="778" y="1743"/>
                  <a:pt x="778" y="1657"/>
                </a:cubicBezTo>
                <a:cubicBezTo>
                  <a:pt x="778" y="1571"/>
                  <a:pt x="811" y="1491"/>
                  <a:pt x="872" y="1430"/>
                </a:cubicBezTo>
                <a:cubicBezTo>
                  <a:pt x="1167" y="1135"/>
                  <a:pt x="1167" y="1135"/>
                  <a:pt x="1167" y="1135"/>
                </a:cubicBezTo>
                <a:cubicBezTo>
                  <a:pt x="1228" y="1074"/>
                  <a:pt x="1308" y="1041"/>
                  <a:pt x="1394" y="1041"/>
                </a:cubicBezTo>
                <a:cubicBezTo>
                  <a:pt x="1480" y="1041"/>
                  <a:pt x="1561" y="1074"/>
                  <a:pt x="1622" y="1135"/>
                </a:cubicBezTo>
                <a:cubicBezTo>
                  <a:pt x="1785" y="1298"/>
                  <a:pt x="1785" y="1298"/>
                  <a:pt x="1785" y="1298"/>
                </a:cubicBezTo>
                <a:cubicBezTo>
                  <a:pt x="1948" y="1135"/>
                  <a:pt x="1948" y="1135"/>
                  <a:pt x="1948" y="1135"/>
                </a:cubicBezTo>
                <a:cubicBezTo>
                  <a:pt x="2009" y="1074"/>
                  <a:pt x="2090" y="1041"/>
                  <a:pt x="2175" y="1041"/>
                </a:cubicBezTo>
                <a:cubicBezTo>
                  <a:pt x="2261" y="1041"/>
                  <a:pt x="2342" y="1074"/>
                  <a:pt x="2403" y="1135"/>
                </a:cubicBezTo>
                <a:cubicBezTo>
                  <a:pt x="2698" y="1430"/>
                  <a:pt x="2698" y="1430"/>
                  <a:pt x="2698" y="1430"/>
                </a:cubicBezTo>
                <a:cubicBezTo>
                  <a:pt x="2823" y="1555"/>
                  <a:pt x="2823" y="1759"/>
                  <a:pt x="2698" y="1884"/>
                </a:cubicBezTo>
                <a:cubicBezTo>
                  <a:pt x="1785" y="2799"/>
                  <a:pt x="1785" y="2799"/>
                  <a:pt x="1785" y="2799"/>
                </a:cubicBezTo>
                <a:close/>
                <a:moveTo>
                  <a:pt x="1394" y="1266"/>
                </a:moveTo>
                <a:cubicBezTo>
                  <a:pt x="1369" y="1266"/>
                  <a:pt x="1344" y="1276"/>
                  <a:pt x="1326" y="1294"/>
                </a:cubicBezTo>
                <a:cubicBezTo>
                  <a:pt x="1031" y="1589"/>
                  <a:pt x="1031" y="1589"/>
                  <a:pt x="1031" y="1589"/>
                </a:cubicBezTo>
                <a:cubicBezTo>
                  <a:pt x="1013" y="1608"/>
                  <a:pt x="1003" y="1632"/>
                  <a:pt x="1003" y="1657"/>
                </a:cubicBezTo>
                <a:cubicBezTo>
                  <a:pt x="1003" y="1683"/>
                  <a:pt x="1013" y="1707"/>
                  <a:pt x="1031" y="1725"/>
                </a:cubicBezTo>
                <a:cubicBezTo>
                  <a:pt x="1785" y="2480"/>
                  <a:pt x="1785" y="2480"/>
                  <a:pt x="1785" y="2480"/>
                </a:cubicBezTo>
                <a:cubicBezTo>
                  <a:pt x="2539" y="1725"/>
                  <a:pt x="2539" y="1725"/>
                  <a:pt x="2539" y="1725"/>
                </a:cubicBezTo>
                <a:cubicBezTo>
                  <a:pt x="2576" y="1688"/>
                  <a:pt x="2576" y="1627"/>
                  <a:pt x="2539" y="1589"/>
                </a:cubicBezTo>
                <a:cubicBezTo>
                  <a:pt x="2243" y="1294"/>
                  <a:pt x="2243" y="1294"/>
                  <a:pt x="2243" y="1294"/>
                </a:cubicBezTo>
                <a:cubicBezTo>
                  <a:pt x="2225" y="1276"/>
                  <a:pt x="2201" y="1266"/>
                  <a:pt x="2175" y="1266"/>
                </a:cubicBezTo>
                <a:cubicBezTo>
                  <a:pt x="2150" y="1266"/>
                  <a:pt x="2125" y="1276"/>
                  <a:pt x="2107" y="1294"/>
                </a:cubicBezTo>
                <a:cubicBezTo>
                  <a:pt x="1785" y="1616"/>
                  <a:pt x="1785" y="1616"/>
                  <a:pt x="1785" y="1616"/>
                </a:cubicBezTo>
                <a:cubicBezTo>
                  <a:pt x="1462" y="1294"/>
                  <a:pt x="1462" y="1294"/>
                  <a:pt x="1462" y="1294"/>
                </a:cubicBezTo>
                <a:cubicBezTo>
                  <a:pt x="1444" y="1276"/>
                  <a:pt x="1420" y="1266"/>
                  <a:pt x="1394" y="1266"/>
                </a:cubicBez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Open Sans"/>
              <a:ea typeface="+mn-ea"/>
              <a:cs typeface="+mn-cs"/>
              <a:sym typeface="Helvetica Light"/>
            </a:endParaRPr>
          </a:p>
        </p:txBody>
      </p:sp>
      <p:sp>
        <p:nvSpPr>
          <p:cNvPr id="19" name="TextBox 18">
            <a:extLst>
              <a:ext uri="{FF2B5EF4-FFF2-40B4-BE49-F238E27FC236}">
                <a16:creationId xmlns:a16="http://schemas.microsoft.com/office/drawing/2014/main" id="{63B74343-30A0-2449-97FD-2C6DC2C6F5FF}"/>
              </a:ext>
            </a:extLst>
          </p:cNvPr>
          <p:cNvSpPr txBox="1"/>
          <p:nvPr/>
        </p:nvSpPr>
        <p:spPr>
          <a:xfrm>
            <a:off x="10029390" y="3096905"/>
            <a:ext cx="1766613" cy="946413"/>
          </a:xfrm>
          <a:prstGeom prst="rect">
            <a:avLst/>
          </a:prstGeom>
          <a:noFill/>
        </p:spPr>
        <p:txBody>
          <a:bodyPr wrap="square" lIns="0" tIns="0" rIns="0" bIns="0" rtlCol="0">
            <a:spAutoFit/>
          </a:bodyPr>
          <a:lstStyle/>
          <a:p>
            <a:pPr marL="0" marR="0" lvl="0" indent="0" algn="ctr" defTabSz="457189" rtl="0" eaLnBrk="1" fontAlgn="auto" latinLnBrk="0" hangingPunct="1">
              <a:lnSpc>
                <a:spcPts val="12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Helvetica Light"/>
              </a:rPr>
              <a:t>Optimize performance </a:t>
            </a:r>
            <a:b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Helvetica Light"/>
              </a:rPr>
            </a:b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Helvetica Light"/>
              </a:rPr>
              <a:t>and service </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Helvetica Light"/>
              </a:rPr>
              <a:t>Ensure our people, processes and technology enable our strategy</a:t>
            </a:r>
          </a:p>
        </p:txBody>
      </p:sp>
      <p:sp>
        <p:nvSpPr>
          <p:cNvPr id="20" name="TextBox 19">
            <a:extLst>
              <a:ext uri="{FF2B5EF4-FFF2-40B4-BE49-F238E27FC236}">
                <a16:creationId xmlns:a16="http://schemas.microsoft.com/office/drawing/2014/main" id="{324DA364-55EB-184A-9F42-F27810F78718}"/>
              </a:ext>
            </a:extLst>
          </p:cNvPr>
          <p:cNvSpPr txBox="1"/>
          <p:nvPr/>
        </p:nvSpPr>
        <p:spPr>
          <a:xfrm>
            <a:off x="8100457" y="3226571"/>
            <a:ext cx="1732979" cy="638636"/>
          </a:xfrm>
          <a:prstGeom prst="rect">
            <a:avLst/>
          </a:prstGeom>
          <a:noFill/>
        </p:spPr>
        <p:txBody>
          <a:bodyPr wrap="square" lIns="0" tIns="0" rIns="0" bIns="0" rtlCol="0">
            <a:spAutoFit/>
          </a:bodyPr>
          <a:lstStyle/>
          <a:p>
            <a:pPr marL="0" marR="0" lvl="0" indent="0" algn="ctr" defTabSz="457189" rtl="0" eaLnBrk="1" fontAlgn="auto" latinLnBrk="0" hangingPunct="1">
              <a:lnSpc>
                <a:spcPts val="12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Helvetica Light"/>
              </a:rPr>
              <a:t>Attract and inspire</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Helvetica Light"/>
              </a:rPr>
              <a:t>Unlock the power of </a:t>
            </a:r>
            <a:b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Helvetica Light"/>
              </a:rPr>
            </a:b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Helvetica Light"/>
              </a:rPr>
              <a:t>our people to transform health care</a:t>
            </a:r>
          </a:p>
        </p:txBody>
      </p:sp>
      <p:sp>
        <p:nvSpPr>
          <p:cNvPr id="21" name="TextBox 20">
            <a:extLst>
              <a:ext uri="{FF2B5EF4-FFF2-40B4-BE49-F238E27FC236}">
                <a16:creationId xmlns:a16="http://schemas.microsoft.com/office/drawing/2014/main" id="{52A98706-73E8-0241-9BC9-EB0B6D85D929}"/>
              </a:ext>
            </a:extLst>
          </p:cNvPr>
          <p:cNvSpPr txBox="1"/>
          <p:nvPr/>
        </p:nvSpPr>
        <p:spPr>
          <a:xfrm>
            <a:off x="6213626" y="3226572"/>
            <a:ext cx="1791925" cy="638636"/>
          </a:xfrm>
          <a:prstGeom prst="rect">
            <a:avLst/>
          </a:prstGeom>
          <a:noFill/>
        </p:spPr>
        <p:txBody>
          <a:bodyPr wrap="square" lIns="0" tIns="0" rIns="0" bIns="0" rtlCol="0">
            <a:spAutoFit/>
          </a:bodyPr>
          <a:lstStyle/>
          <a:p>
            <a:pPr marL="0" marR="0" lvl="0" indent="0" algn="ctr" defTabSz="457189" rtl="0" eaLnBrk="1" fontAlgn="auto" latinLnBrk="0" hangingPunct="1">
              <a:lnSpc>
                <a:spcPts val="12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Helvetica Light"/>
              </a:rPr>
              <a:t>Lead the change</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Helvetica Light"/>
              </a:rPr>
              <a:t>Challenge the status quo with new technologies, business models and partnerships</a:t>
            </a:r>
          </a:p>
        </p:txBody>
      </p:sp>
      <p:sp>
        <p:nvSpPr>
          <p:cNvPr id="25" name="Rectangle 24">
            <a:extLst>
              <a:ext uri="{FF2B5EF4-FFF2-40B4-BE49-F238E27FC236}">
                <a16:creationId xmlns:a16="http://schemas.microsoft.com/office/drawing/2014/main" id="{48567502-1459-C943-BFF6-DE375356F63C}"/>
              </a:ext>
            </a:extLst>
          </p:cNvPr>
          <p:cNvSpPr/>
          <p:nvPr/>
        </p:nvSpPr>
        <p:spPr>
          <a:xfrm>
            <a:off x="6200003" y="2390271"/>
            <a:ext cx="1827123" cy="1638392"/>
          </a:xfrm>
          <a:prstGeom prst="rect">
            <a:avLst/>
          </a:prstGeom>
          <a:noFill/>
          <a:ln w="28575">
            <a:solidFill>
              <a:schemeClr val="tx2"/>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prstClr val="white"/>
              </a:solidFill>
              <a:effectLst/>
              <a:uLnTx/>
              <a:uFillTx/>
              <a:latin typeface="Open Sans"/>
              <a:ea typeface="+mn-ea"/>
              <a:cs typeface="+mn-cs"/>
              <a:sym typeface="Helvetica Light"/>
            </a:endParaRPr>
          </a:p>
        </p:txBody>
      </p:sp>
      <p:sp>
        <p:nvSpPr>
          <p:cNvPr id="26" name="Rectangle 25">
            <a:extLst>
              <a:ext uri="{FF2B5EF4-FFF2-40B4-BE49-F238E27FC236}">
                <a16:creationId xmlns:a16="http://schemas.microsoft.com/office/drawing/2014/main" id="{0733D1B4-122E-6144-9E59-A11E071A4E20}"/>
              </a:ext>
            </a:extLst>
          </p:cNvPr>
          <p:cNvSpPr/>
          <p:nvPr/>
        </p:nvSpPr>
        <p:spPr>
          <a:xfrm>
            <a:off x="8103392" y="2395367"/>
            <a:ext cx="1827123" cy="1638392"/>
          </a:xfrm>
          <a:prstGeom prst="rect">
            <a:avLst/>
          </a:prstGeom>
          <a:noFill/>
          <a:ln w="28575">
            <a:solidFill>
              <a:schemeClr val="tx2"/>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Open Sans"/>
                <a:ea typeface="+mn-ea"/>
                <a:cs typeface="+mn-cs"/>
                <a:sym typeface="Helvetica Light"/>
              </a:rPr>
              <a:t>   </a:t>
            </a:r>
          </a:p>
        </p:txBody>
      </p:sp>
      <p:sp>
        <p:nvSpPr>
          <p:cNvPr id="27" name="Rectangle 26">
            <a:extLst>
              <a:ext uri="{FF2B5EF4-FFF2-40B4-BE49-F238E27FC236}">
                <a16:creationId xmlns:a16="http://schemas.microsoft.com/office/drawing/2014/main" id="{9C7D6E3D-1C95-FB4C-87D6-5D74AD5B31C7}"/>
              </a:ext>
            </a:extLst>
          </p:cNvPr>
          <p:cNvSpPr/>
          <p:nvPr/>
        </p:nvSpPr>
        <p:spPr>
          <a:xfrm>
            <a:off x="10003846" y="2390271"/>
            <a:ext cx="1827123" cy="1638392"/>
          </a:xfrm>
          <a:prstGeom prst="rect">
            <a:avLst/>
          </a:prstGeom>
          <a:noFill/>
          <a:ln w="28575">
            <a:solidFill>
              <a:schemeClr val="tx2"/>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Open Sans"/>
                <a:ea typeface="+mn-ea"/>
                <a:cs typeface="+mn-cs"/>
                <a:sym typeface="Helvetica Light"/>
              </a:rPr>
              <a:t>   </a:t>
            </a:r>
          </a:p>
        </p:txBody>
      </p:sp>
      <p:sp>
        <p:nvSpPr>
          <p:cNvPr id="32" name="Rectangle 31">
            <a:extLst>
              <a:ext uri="{FF2B5EF4-FFF2-40B4-BE49-F238E27FC236}">
                <a16:creationId xmlns:a16="http://schemas.microsoft.com/office/drawing/2014/main" id="{64E7A283-BCAC-4560-8A5C-1B7B2914F5EA}"/>
              </a:ext>
            </a:extLst>
          </p:cNvPr>
          <p:cNvSpPr/>
          <p:nvPr/>
        </p:nvSpPr>
        <p:spPr>
          <a:xfrm>
            <a:off x="484820" y="2399442"/>
            <a:ext cx="1827123" cy="1638392"/>
          </a:xfrm>
          <a:prstGeom prst="rect">
            <a:avLst/>
          </a:prstGeom>
          <a:noFill/>
          <a:ln w="28575">
            <a:solidFill>
              <a:schemeClr val="tx2"/>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prstClr val="white"/>
              </a:solidFill>
              <a:effectLst/>
              <a:uLnTx/>
              <a:uFillTx/>
              <a:latin typeface="Open Sans"/>
              <a:ea typeface="+mn-ea"/>
              <a:cs typeface="+mn-cs"/>
              <a:sym typeface="Helvetica Light"/>
            </a:endParaRPr>
          </a:p>
        </p:txBody>
      </p:sp>
      <p:sp>
        <p:nvSpPr>
          <p:cNvPr id="33" name="Rectangle 32">
            <a:extLst>
              <a:ext uri="{FF2B5EF4-FFF2-40B4-BE49-F238E27FC236}">
                <a16:creationId xmlns:a16="http://schemas.microsoft.com/office/drawing/2014/main" id="{82DE5283-C3ED-41A4-B520-6B47B98DD79B}"/>
              </a:ext>
            </a:extLst>
          </p:cNvPr>
          <p:cNvSpPr/>
          <p:nvPr/>
        </p:nvSpPr>
        <p:spPr>
          <a:xfrm>
            <a:off x="2388209" y="2404537"/>
            <a:ext cx="1827123" cy="1624123"/>
          </a:xfrm>
          <a:prstGeom prst="rect">
            <a:avLst/>
          </a:prstGeom>
          <a:noFill/>
          <a:ln w="28575">
            <a:solidFill>
              <a:schemeClr val="tx2"/>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Open Sans"/>
                <a:ea typeface="+mn-ea"/>
                <a:cs typeface="+mn-cs"/>
                <a:sym typeface="Helvetica Light"/>
              </a:rPr>
              <a:t>   </a:t>
            </a:r>
          </a:p>
        </p:txBody>
      </p:sp>
      <p:sp>
        <p:nvSpPr>
          <p:cNvPr id="34" name="Rectangle 33">
            <a:extLst>
              <a:ext uri="{FF2B5EF4-FFF2-40B4-BE49-F238E27FC236}">
                <a16:creationId xmlns:a16="http://schemas.microsoft.com/office/drawing/2014/main" id="{AA2940FB-4C7E-4365-9F1C-9FA4220A3C2F}"/>
              </a:ext>
            </a:extLst>
          </p:cNvPr>
          <p:cNvSpPr/>
          <p:nvPr/>
        </p:nvSpPr>
        <p:spPr>
          <a:xfrm>
            <a:off x="4288663" y="2399442"/>
            <a:ext cx="1827123" cy="1638392"/>
          </a:xfrm>
          <a:prstGeom prst="rect">
            <a:avLst/>
          </a:prstGeom>
          <a:noFill/>
          <a:ln w="28575">
            <a:solidFill>
              <a:schemeClr val="tx2"/>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Open Sans"/>
                <a:ea typeface="+mn-ea"/>
                <a:cs typeface="+mn-cs"/>
                <a:sym typeface="Helvetica Light"/>
              </a:rPr>
              <a:t>   </a:t>
            </a:r>
          </a:p>
        </p:txBody>
      </p:sp>
      <p:sp>
        <p:nvSpPr>
          <p:cNvPr id="30" name="Text Placeholder 2">
            <a:extLst>
              <a:ext uri="{FF2B5EF4-FFF2-40B4-BE49-F238E27FC236}">
                <a16:creationId xmlns:a16="http://schemas.microsoft.com/office/drawing/2014/main" id="{39C286EB-B4EB-407E-9E61-97D02F492D65}"/>
              </a:ext>
            </a:extLst>
          </p:cNvPr>
          <p:cNvSpPr>
            <a:spLocks noGrp="1"/>
          </p:cNvSpPr>
          <p:nvPr>
            <p:ph type="body" sz="quarter" idx="11"/>
          </p:nvPr>
        </p:nvSpPr>
        <p:spPr>
          <a:xfrm>
            <a:off x="457200" y="842686"/>
            <a:ext cx="9954126" cy="423094"/>
          </a:xfrm>
        </p:spPr>
        <p:txBody>
          <a:bodyPr/>
          <a:lstStyle/>
          <a:p>
            <a:pPr fontAlgn="base"/>
            <a:r>
              <a:rPr lang="en-US" sz="1800" spc="-5" dirty="0">
                <a:latin typeface="Arial"/>
                <a:cs typeface="Arial"/>
              </a:rPr>
              <a:t>Creating unmatched human connections </a:t>
            </a:r>
            <a:r>
              <a:rPr lang="en-US" sz="1800" dirty="0">
                <a:latin typeface="Arial"/>
                <a:cs typeface="Arial"/>
              </a:rPr>
              <a:t>to </a:t>
            </a:r>
            <a:r>
              <a:rPr lang="en-US" sz="1800" spc="-5" dirty="0">
                <a:latin typeface="Arial"/>
                <a:cs typeface="Arial"/>
              </a:rPr>
              <a:t>transform the health care</a:t>
            </a:r>
            <a:r>
              <a:rPr lang="en-US" sz="1800" spc="-55" dirty="0">
                <a:latin typeface="Arial"/>
                <a:cs typeface="Arial"/>
              </a:rPr>
              <a:t> </a:t>
            </a:r>
            <a:r>
              <a:rPr lang="en-US" sz="1800" spc="-5" dirty="0">
                <a:latin typeface="Arial"/>
                <a:cs typeface="Arial"/>
              </a:rPr>
              <a:t>experience</a:t>
            </a:r>
            <a:endParaRPr lang="en-US" sz="1800" dirty="0">
              <a:latin typeface="Arial"/>
              <a:cs typeface="Arial"/>
            </a:endParaRPr>
          </a:p>
          <a:p>
            <a:pPr fontAlgn="base"/>
            <a:r>
              <a:rPr lang="en-US" sz="1800" dirty="0"/>
              <a:t> </a:t>
            </a:r>
          </a:p>
        </p:txBody>
      </p:sp>
      <p:pic>
        <p:nvPicPr>
          <p:cNvPr id="2" name="Picture 1">
            <a:extLst>
              <a:ext uri="{FF2B5EF4-FFF2-40B4-BE49-F238E27FC236}">
                <a16:creationId xmlns:a16="http://schemas.microsoft.com/office/drawing/2014/main" id="{C9730884-2B20-4120-8E34-D74BFE46A199}"/>
              </a:ext>
            </a:extLst>
          </p:cNvPr>
          <p:cNvPicPr>
            <a:picLocks noChangeAspect="1"/>
          </p:cNvPicPr>
          <p:nvPr/>
        </p:nvPicPr>
        <p:blipFill>
          <a:blip r:embed="rId3"/>
          <a:stretch>
            <a:fillRect/>
          </a:stretch>
        </p:blipFill>
        <p:spPr>
          <a:xfrm>
            <a:off x="1173518" y="2626820"/>
            <a:ext cx="504825" cy="442913"/>
          </a:xfrm>
          <a:prstGeom prst="rect">
            <a:avLst/>
          </a:prstGeom>
        </p:spPr>
      </p:pic>
      <p:pic>
        <p:nvPicPr>
          <p:cNvPr id="3" name="Picture 2">
            <a:extLst>
              <a:ext uri="{FF2B5EF4-FFF2-40B4-BE49-F238E27FC236}">
                <a16:creationId xmlns:a16="http://schemas.microsoft.com/office/drawing/2014/main" id="{D2EC4806-D668-458C-8C66-14735432798C}"/>
              </a:ext>
            </a:extLst>
          </p:cNvPr>
          <p:cNvPicPr>
            <a:picLocks noChangeAspect="1"/>
          </p:cNvPicPr>
          <p:nvPr/>
        </p:nvPicPr>
        <p:blipFill>
          <a:blip r:embed="rId4"/>
          <a:stretch>
            <a:fillRect/>
          </a:stretch>
        </p:blipFill>
        <p:spPr>
          <a:xfrm>
            <a:off x="6887167" y="2458454"/>
            <a:ext cx="538944" cy="673680"/>
          </a:xfrm>
          <a:prstGeom prst="rect">
            <a:avLst/>
          </a:prstGeom>
        </p:spPr>
      </p:pic>
      <p:pic>
        <p:nvPicPr>
          <p:cNvPr id="16" name="Picture 15">
            <a:extLst>
              <a:ext uri="{FF2B5EF4-FFF2-40B4-BE49-F238E27FC236}">
                <a16:creationId xmlns:a16="http://schemas.microsoft.com/office/drawing/2014/main" id="{8DD4831D-C75F-4009-87A5-8BDD760AE1F7}"/>
              </a:ext>
            </a:extLst>
          </p:cNvPr>
          <p:cNvPicPr>
            <a:picLocks noChangeAspect="1"/>
          </p:cNvPicPr>
          <p:nvPr/>
        </p:nvPicPr>
        <p:blipFill>
          <a:blip r:embed="rId5"/>
          <a:stretch>
            <a:fillRect/>
          </a:stretch>
        </p:blipFill>
        <p:spPr>
          <a:xfrm>
            <a:off x="2935709" y="2526933"/>
            <a:ext cx="634891" cy="634891"/>
          </a:xfrm>
          <a:prstGeom prst="rect">
            <a:avLst/>
          </a:prstGeom>
        </p:spPr>
      </p:pic>
      <p:pic>
        <p:nvPicPr>
          <p:cNvPr id="17" name="Picture 16">
            <a:extLst>
              <a:ext uri="{FF2B5EF4-FFF2-40B4-BE49-F238E27FC236}">
                <a16:creationId xmlns:a16="http://schemas.microsoft.com/office/drawing/2014/main" id="{07E382AA-5499-4568-B9BB-5F6E941C1C2E}"/>
              </a:ext>
            </a:extLst>
          </p:cNvPr>
          <p:cNvPicPr>
            <a:picLocks noChangeAspect="1"/>
          </p:cNvPicPr>
          <p:nvPr/>
        </p:nvPicPr>
        <p:blipFill>
          <a:blip r:embed="rId6"/>
          <a:stretch>
            <a:fillRect/>
          </a:stretch>
        </p:blipFill>
        <p:spPr>
          <a:xfrm>
            <a:off x="8731044" y="2500346"/>
            <a:ext cx="569387" cy="569387"/>
          </a:xfrm>
          <a:prstGeom prst="rect">
            <a:avLst/>
          </a:prstGeom>
        </p:spPr>
      </p:pic>
      <p:pic>
        <p:nvPicPr>
          <p:cNvPr id="18" name="Picture 17">
            <a:extLst>
              <a:ext uri="{FF2B5EF4-FFF2-40B4-BE49-F238E27FC236}">
                <a16:creationId xmlns:a16="http://schemas.microsoft.com/office/drawing/2014/main" id="{2F5AE232-DD28-449E-A9D0-97594CA56547}"/>
              </a:ext>
            </a:extLst>
          </p:cNvPr>
          <p:cNvPicPr>
            <a:picLocks noChangeAspect="1"/>
          </p:cNvPicPr>
          <p:nvPr/>
        </p:nvPicPr>
        <p:blipFill>
          <a:blip r:embed="rId7"/>
          <a:stretch>
            <a:fillRect/>
          </a:stretch>
        </p:blipFill>
        <p:spPr>
          <a:xfrm>
            <a:off x="4876467" y="2558572"/>
            <a:ext cx="657875" cy="562184"/>
          </a:xfrm>
          <a:prstGeom prst="rect">
            <a:avLst/>
          </a:prstGeom>
        </p:spPr>
      </p:pic>
      <p:pic>
        <p:nvPicPr>
          <p:cNvPr id="31" name="Picture 30">
            <a:extLst>
              <a:ext uri="{FF2B5EF4-FFF2-40B4-BE49-F238E27FC236}">
                <a16:creationId xmlns:a16="http://schemas.microsoft.com/office/drawing/2014/main" id="{B67AB685-A3DB-4EF8-8500-7164D583DF67}"/>
              </a:ext>
            </a:extLst>
          </p:cNvPr>
          <p:cNvPicPr>
            <a:picLocks noChangeAspect="1"/>
          </p:cNvPicPr>
          <p:nvPr/>
        </p:nvPicPr>
        <p:blipFill>
          <a:blip r:embed="rId8"/>
          <a:stretch>
            <a:fillRect/>
          </a:stretch>
        </p:blipFill>
        <p:spPr>
          <a:xfrm>
            <a:off x="10674094" y="2493458"/>
            <a:ext cx="515335" cy="562184"/>
          </a:xfrm>
          <a:prstGeom prst="rect">
            <a:avLst/>
          </a:prstGeom>
        </p:spPr>
      </p:pic>
      <p:sp>
        <p:nvSpPr>
          <p:cNvPr id="35" name="Rectangle 34">
            <a:extLst>
              <a:ext uri="{FF2B5EF4-FFF2-40B4-BE49-F238E27FC236}">
                <a16:creationId xmlns:a16="http://schemas.microsoft.com/office/drawing/2014/main" id="{BCC7B300-DD4E-4CDE-B122-8DBD80CF7D10}"/>
              </a:ext>
            </a:extLst>
          </p:cNvPr>
          <p:cNvSpPr/>
          <p:nvPr/>
        </p:nvSpPr>
        <p:spPr>
          <a:xfrm>
            <a:off x="91352" y="4091806"/>
            <a:ext cx="11765318" cy="1906035"/>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414141"/>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7" name="Rectangle 36">
            <a:extLst>
              <a:ext uri="{FF2B5EF4-FFF2-40B4-BE49-F238E27FC236}">
                <a16:creationId xmlns:a16="http://schemas.microsoft.com/office/drawing/2014/main" id="{37818ACD-A1BA-46CD-BD1C-730994A6DFC3}"/>
              </a:ext>
            </a:extLst>
          </p:cNvPr>
          <p:cNvSpPr/>
          <p:nvPr/>
        </p:nvSpPr>
        <p:spPr>
          <a:xfrm>
            <a:off x="2365231" y="4137126"/>
            <a:ext cx="1827123" cy="1528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8" name="Rectangle 37">
            <a:extLst>
              <a:ext uri="{FF2B5EF4-FFF2-40B4-BE49-F238E27FC236}">
                <a16:creationId xmlns:a16="http://schemas.microsoft.com/office/drawing/2014/main" id="{1A443F8F-8D68-42AA-BAEE-15BC368AA565}"/>
              </a:ext>
            </a:extLst>
          </p:cNvPr>
          <p:cNvSpPr/>
          <p:nvPr/>
        </p:nvSpPr>
        <p:spPr>
          <a:xfrm>
            <a:off x="6186006" y="4139797"/>
            <a:ext cx="1824188" cy="1810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000000"/>
                </a:solidFill>
                <a:latin typeface="Arial" panose="020B0604020202020204" pitchFamily="34" charset="0"/>
                <a:cs typeface="Arial" panose="020B0604020202020204" pitchFamily="34" charset="0"/>
                <a:sym typeface="Arial" panose="020B0604020202020204" pitchFamily="34" charset="0"/>
              </a:rPr>
              <a:t>The Clinical Platform enables us to innovate aggressively by providing foundational elements as part of the platform, enabling businesses to invest in differentiators.</a:t>
            </a: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9" name="Rectangle 38">
            <a:extLst>
              <a:ext uri="{FF2B5EF4-FFF2-40B4-BE49-F238E27FC236}">
                <a16:creationId xmlns:a16="http://schemas.microsoft.com/office/drawing/2014/main" id="{4ABD6ED7-5DEF-4E10-B245-E30CE0802EF1}"/>
              </a:ext>
            </a:extLst>
          </p:cNvPr>
          <p:cNvSpPr/>
          <p:nvPr/>
        </p:nvSpPr>
        <p:spPr>
          <a:xfrm>
            <a:off x="4199563" y="4138673"/>
            <a:ext cx="1948310" cy="11969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riving our customers health journey by deeply integrating with our insights and being proactive in our conversations will drive positive health outcomes.</a:t>
            </a: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0" name="Rectangle 39">
            <a:extLst>
              <a:ext uri="{FF2B5EF4-FFF2-40B4-BE49-F238E27FC236}">
                <a16:creationId xmlns:a16="http://schemas.microsoft.com/office/drawing/2014/main" id="{E5BC28D1-A317-46D6-8D20-1C1199149729}"/>
              </a:ext>
            </a:extLst>
          </p:cNvPr>
          <p:cNvSpPr/>
          <p:nvPr/>
        </p:nvSpPr>
        <p:spPr>
          <a:xfrm>
            <a:off x="9936875" y="4185501"/>
            <a:ext cx="1824188" cy="1810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a:solidFill>
                  <a:srgbClr val="000000"/>
                </a:solidFill>
                <a:latin typeface="Arial" panose="020B0604020202020204" pitchFamily="34" charset="0"/>
                <a:cs typeface="Arial" panose="020B0604020202020204" pitchFamily="34" charset="0"/>
              </a:rPr>
              <a:t>A unified Clinical platform will centralize operations improve productivity, remove inconsistencies and redundancies while accelerating innovations. </a:t>
            </a:r>
          </a:p>
        </p:txBody>
      </p:sp>
      <p:sp>
        <p:nvSpPr>
          <p:cNvPr id="41" name="Rectangle 40">
            <a:extLst>
              <a:ext uri="{FF2B5EF4-FFF2-40B4-BE49-F238E27FC236}">
                <a16:creationId xmlns:a16="http://schemas.microsoft.com/office/drawing/2014/main" id="{F61881A8-8097-4E01-9E0A-37E81BD78925}"/>
              </a:ext>
            </a:extLst>
          </p:cNvPr>
          <p:cNvSpPr/>
          <p:nvPr/>
        </p:nvSpPr>
        <p:spPr>
          <a:xfrm>
            <a:off x="8103392" y="4139796"/>
            <a:ext cx="1824188" cy="16477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Providing clinicians with personalized insights (Alerts, CCs, Gaps </a:t>
            </a:r>
            <a:r>
              <a:rPr kumimoji="0" lang="en-US" sz="12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etc</a:t>
            </a: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lang="en-US" sz="1200" b="1" dirty="0">
                <a:solidFill>
                  <a:srgbClr val="000000"/>
                </a:solidFill>
                <a:latin typeface="Arial" panose="020B0604020202020204" pitchFamily="34" charset="0"/>
                <a:cs typeface="Arial" panose="020B0604020202020204" pitchFamily="34" charset="0"/>
                <a:sym typeface="Arial" panose="020B0604020202020204" pitchFamily="34" charset="0"/>
              </a:rPr>
              <a:t>will</a:t>
            </a: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 help our customers health journey; will lead the Healthcare industry </a:t>
            </a:r>
          </a:p>
        </p:txBody>
      </p:sp>
      <p:sp>
        <p:nvSpPr>
          <p:cNvPr id="36" name="Rectangle 35">
            <a:extLst>
              <a:ext uri="{FF2B5EF4-FFF2-40B4-BE49-F238E27FC236}">
                <a16:creationId xmlns:a16="http://schemas.microsoft.com/office/drawing/2014/main" id="{B3D7E50B-682B-42EC-9FFB-30C34009C401}"/>
              </a:ext>
            </a:extLst>
          </p:cNvPr>
          <p:cNvSpPr/>
          <p:nvPr/>
        </p:nvSpPr>
        <p:spPr>
          <a:xfrm rot="16200000">
            <a:off x="-680175" y="4834697"/>
            <a:ext cx="1906031" cy="420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14141"/>
                </a:solidFill>
                <a:effectLst/>
                <a:uLnTx/>
                <a:uFillTx/>
                <a:latin typeface="Arial" panose="020B0604020202020204" pitchFamily="34" charset="0"/>
                <a:ea typeface="+mn-ea"/>
                <a:cs typeface="Arial" panose="020B0604020202020204" pitchFamily="34" charset="0"/>
                <a:sym typeface="Arial" panose="020B0604020202020204" pitchFamily="34" charset="0"/>
              </a:rPr>
              <a:t>How We Differentiate</a:t>
            </a:r>
          </a:p>
        </p:txBody>
      </p:sp>
      <p:cxnSp>
        <p:nvCxnSpPr>
          <p:cNvPr id="44" name="Straight Connector 43">
            <a:extLst>
              <a:ext uri="{FF2B5EF4-FFF2-40B4-BE49-F238E27FC236}">
                <a16:creationId xmlns:a16="http://schemas.microsoft.com/office/drawing/2014/main" id="{EEBD5CC2-89B1-4EBD-A24F-77DF6CFE39DA}"/>
              </a:ext>
            </a:extLst>
          </p:cNvPr>
          <p:cNvCxnSpPr>
            <a:cxnSpLocks/>
          </p:cNvCxnSpPr>
          <p:nvPr/>
        </p:nvCxnSpPr>
        <p:spPr bwMode="gray">
          <a:xfrm flipH="1">
            <a:off x="478449" y="4189664"/>
            <a:ext cx="8690" cy="1695703"/>
          </a:xfrm>
          <a:prstGeom prst="line">
            <a:avLst/>
          </a:prstGeom>
          <a:ln w="28575" cmpd="sng">
            <a:solidFill>
              <a:schemeClr val="tx2"/>
            </a:solidFill>
            <a:miter lim="800000"/>
          </a:ln>
          <a:effectLst/>
        </p:spPr>
        <p:style>
          <a:lnRef idx="2">
            <a:schemeClr val="accent1"/>
          </a:lnRef>
          <a:fillRef idx="0">
            <a:schemeClr val="accent1"/>
          </a:fillRef>
          <a:effectRef idx="1">
            <a:schemeClr val="accent1"/>
          </a:effectRef>
          <a:fontRef idx="minor">
            <a:schemeClr val="tx1"/>
          </a:fontRef>
        </p:style>
      </p:cxnSp>
      <p:sp>
        <p:nvSpPr>
          <p:cNvPr id="48" name="Rectangle 47">
            <a:extLst>
              <a:ext uri="{FF2B5EF4-FFF2-40B4-BE49-F238E27FC236}">
                <a16:creationId xmlns:a16="http://schemas.microsoft.com/office/drawing/2014/main" id="{0415831F-B7AD-4DDD-86CF-4F02CD25D1C2}"/>
              </a:ext>
            </a:extLst>
          </p:cNvPr>
          <p:cNvSpPr/>
          <p:nvPr/>
        </p:nvSpPr>
        <p:spPr>
          <a:xfrm>
            <a:off x="478449" y="4132915"/>
            <a:ext cx="1827123" cy="19229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ersonalized face to face interactions, through: Community Care, Health-Hub, Minute Clinic and the Pharmacy will continue to drive the localization strategy </a:t>
            </a:r>
            <a:r>
              <a:rPr lang="en-US" sz="1200" b="1" dirty="0">
                <a:solidFill>
                  <a:srgbClr val="000000"/>
                </a:solidFill>
                <a:latin typeface="Arial" panose="020B0604020202020204" pitchFamily="34" charset="0"/>
                <a:cs typeface="Arial" panose="020B0604020202020204" pitchFamily="34" charset="0"/>
              </a:rPr>
              <a:t>with </a:t>
            </a: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Clinical Platform</a:t>
            </a:r>
          </a:p>
        </p:txBody>
      </p:sp>
      <p:sp>
        <p:nvSpPr>
          <p:cNvPr id="14" name="Rectangle 13">
            <a:extLst>
              <a:ext uri="{FF2B5EF4-FFF2-40B4-BE49-F238E27FC236}">
                <a16:creationId xmlns:a16="http://schemas.microsoft.com/office/drawing/2014/main" id="{F4808869-A74B-4A80-AE95-D3CC530BB278}"/>
              </a:ext>
            </a:extLst>
          </p:cNvPr>
          <p:cNvSpPr/>
          <p:nvPr/>
        </p:nvSpPr>
        <p:spPr>
          <a:xfrm>
            <a:off x="5974011" y="3244334"/>
            <a:ext cx="243978"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Open Sans"/>
                <a:ea typeface="+mn-ea"/>
                <a:cs typeface="+mn-cs"/>
              </a:rPr>
              <a:t> </a:t>
            </a:r>
          </a:p>
        </p:txBody>
      </p:sp>
      <p:sp>
        <p:nvSpPr>
          <p:cNvPr id="45" name="Rectangle 44">
            <a:extLst>
              <a:ext uri="{FF2B5EF4-FFF2-40B4-BE49-F238E27FC236}">
                <a16:creationId xmlns:a16="http://schemas.microsoft.com/office/drawing/2014/main" id="{DF32B7D5-3F4E-4C83-BB6E-6C3F7BE9222D}"/>
              </a:ext>
            </a:extLst>
          </p:cNvPr>
          <p:cNvSpPr/>
          <p:nvPr/>
        </p:nvSpPr>
        <p:spPr>
          <a:xfrm>
            <a:off x="2490515" y="4132915"/>
            <a:ext cx="1827123" cy="16450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defRPr/>
            </a:pPr>
            <a:r>
              <a:rPr lang="en-US" sz="1200" b="1" dirty="0">
                <a:solidFill>
                  <a:srgbClr val="000000"/>
                </a:solidFill>
                <a:latin typeface="Arial" panose="020B0604020202020204" pitchFamily="34" charset="0"/>
                <a:cs typeface="Arial" panose="020B0604020202020204" pitchFamily="34" charset="0"/>
              </a:rPr>
              <a:t>The Clinical Platform will seamlessly bring  together all of the  CVSH clinical interactions and content.</a:t>
            </a: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4699428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1"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latin typeface="Arial" panose="020B0604020202020204" pitchFamily="34" charset="0"/>
                <a:cs typeface="Arial" panose="020B0604020202020204" pitchFamily="34" charset="0"/>
                <a:sym typeface="Arial" panose="020B0604020202020204" pitchFamily="34" charset="0"/>
              </a:rPr>
              <a:t>Clinical Platform Strategy – Strategic Programs</a:t>
            </a:r>
          </a:p>
        </p:txBody>
      </p:sp>
      <p:sp>
        <p:nvSpPr>
          <p:cNvPr id="3" name="Text Placeholder 2"/>
          <p:cNvSpPr>
            <a:spLocks noGrp="1"/>
          </p:cNvSpPr>
          <p:nvPr>
            <p:ph type="body" sz="quarter" idx="11"/>
          </p:nvPr>
        </p:nvSpPr>
        <p:spPr>
          <a:xfrm>
            <a:off x="466781" y="780192"/>
            <a:ext cx="9688622" cy="423094"/>
          </a:xfrm>
        </p:spPr>
        <p:txBody>
          <a:bodyPr/>
          <a:lstStyle/>
          <a:p>
            <a:r>
              <a:rPr lang="en-US" sz="1800" dirty="0">
                <a:latin typeface="Arial" panose="020B0604020202020204" pitchFamily="34" charset="0"/>
                <a:cs typeface="Arial" panose="020B0604020202020204" pitchFamily="34" charset="0"/>
                <a:sym typeface="Arial" panose="020B0604020202020204" pitchFamily="34" charset="0"/>
              </a:rPr>
              <a:t>Strategic, investments are transforming the Business Operating Platforms</a:t>
            </a:r>
          </a:p>
        </p:txBody>
      </p:sp>
      <p:sp>
        <p:nvSpPr>
          <p:cNvPr id="69" name="Rectangle: Rounded Corners 1">
            <a:extLst>
              <a:ext uri="{FF2B5EF4-FFF2-40B4-BE49-F238E27FC236}">
                <a16:creationId xmlns:a16="http://schemas.microsoft.com/office/drawing/2014/main" id="{B7AFE8E7-F2EF-4C79-A6F2-C6D9A735CFF4}"/>
              </a:ext>
            </a:extLst>
          </p:cNvPr>
          <p:cNvSpPr/>
          <p:nvPr/>
        </p:nvSpPr>
        <p:spPr>
          <a:xfrm>
            <a:off x="3145753" y="3420781"/>
            <a:ext cx="8615780" cy="1694116"/>
          </a:xfrm>
          <a:prstGeom prst="roundRect">
            <a:avLst/>
          </a:prstGeom>
          <a:noFill/>
          <a:ln>
            <a:solidFill>
              <a:srgbClr val="D4EBE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sym typeface="Arial" panose="020B0604020202020204" pitchFamily="34" charset="0"/>
            </a:endParaRPr>
          </a:p>
        </p:txBody>
      </p:sp>
      <p:sp>
        <p:nvSpPr>
          <p:cNvPr id="70" name="Rectangle: Rounded Corners 37">
            <a:extLst>
              <a:ext uri="{FF2B5EF4-FFF2-40B4-BE49-F238E27FC236}">
                <a16:creationId xmlns:a16="http://schemas.microsoft.com/office/drawing/2014/main" id="{0CA8724C-FA5C-4350-BA25-482B165F46A1}"/>
              </a:ext>
            </a:extLst>
          </p:cNvPr>
          <p:cNvSpPr/>
          <p:nvPr/>
        </p:nvSpPr>
        <p:spPr>
          <a:xfrm>
            <a:off x="3145753" y="5152945"/>
            <a:ext cx="8615780" cy="1021249"/>
          </a:xfrm>
          <a:prstGeom prst="roundRect">
            <a:avLst/>
          </a:prstGeom>
          <a:noFill/>
          <a:ln>
            <a:solidFill>
              <a:srgbClr val="D4EBE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sym typeface="Arial" panose="020B0604020202020204" pitchFamily="34" charset="0"/>
            </a:endParaRPr>
          </a:p>
        </p:txBody>
      </p:sp>
      <p:sp>
        <p:nvSpPr>
          <p:cNvPr id="71" name="Rectangle 70">
            <a:extLst>
              <a:ext uri="{FF2B5EF4-FFF2-40B4-BE49-F238E27FC236}">
                <a16:creationId xmlns:a16="http://schemas.microsoft.com/office/drawing/2014/main" id="{01642A33-97C7-48EB-833A-8D19E6C9599D}"/>
              </a:ext>
            </a:extLst>
          </p:cNvPr>
          <p:cNvSpPr/>
          <p:nvPr/>
        </p:nvSpPr>
        <p:spPr>
          <a:xfrm>
            <a:off x="6161236" y="2579299"/>
            <a:ext cx="2560320" cy="457200"/>
          </a:xfrm>
          <a:prstGeom prst="rect">
            <a:avLst/>
          </a:prstGeom>
          <a:solidFill>
            <a:srgbClr val="D1E9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Arial" panose="020B0604020202020204" pitchFamily="34" charset="0"/>
                <a:cs typeface="Arial" panose="020B0604020202020204" pitchFamily="34" charset="0"/>
                <a:sym typeface="Arial" panose="020B0604020202020204" pitchFamily="34" charset="0"/>
              </a:rPr>
              <a:t>Local Consumer Experience</a:t>
            </a:r>
            <a:r>
              <a:rPr lang="en-US" sz="1000" b="1" dirty="0">
                <a:solidFill>
                  <a:srgbClr val="FF0000"/>
                </a:solidFill>
                <a:latin typeface="Arial" panose="020B0604020202020204" pitchFamily="34" charset="0"/>
                <a:cs typeface="Arial" panose="020B0604020202020204" pitchFamily="34" charset="0"/>
                <a:sym typeface="Arial" panose="020B0604020202020204" pitchFamily="34" charset="0"/>
              </a:rPr>
              <a:t>*</a:t>
            </a:r>
            <a:endParaRPr lang="en-US" sz="1000" b="1" dirty="0">
              <a:solidFill>
                <a:schemeClr val="tx1"/>
              </a:solidFill>
              <a:latin typeface="Arial" panose="020B0604020202020204" pitchFamily="34" charset="0"/>
              <a:cs typeface="Arial" panose="020B0604020202020204" pitchFamily="34" charset="0"/>
              <a:sym typeface="Arial" panose="020B0604020202020204" pitchFamily="34" charset="0"/>
            </a:endParaRPr>
          </a:p>
          <a:p>
            <a:pPr algn="ctr"/>
            <a:r>
              <a:rPr lang="en-US" sz="1000" i="1" dirty="0">
                <a:solidFill>
                  <a:schemeClr val="tx1"/>
                </a:solidFill>
                <a:latin typeface="Arial" panose="020B0604020202020204" pitchFamily="34" charset="0"/>
                <a:cs typeface="Arial" panose="020B0604020202020204" pitchFamily="34" charset="0"/>
                <a:sym typeface="Arial" panose="020B0604020202020204" pitchFamily="34" charset="0"/>
              </a:rPr>
              <a:t>(Stores, Minute Clinics, Pharmacies)</a:t>
            </a:r>
          </a:p>
        </p:txBody>
      </p:sp>
      <p:sp>
        <p:nvSpPr>
          <p:cNvPr id="72" name="Rectangle: Rounded Corners 39">
            <a:extLst>
              <a:ext uri="{FF2B5EF4-FFF2-40B4-BE49-F238E27FC236}">
                <a16:creationId xmlns:a16="http://schemas.microsoft.com/office/drawing/2014/main" id="{AE078523-0003-4039-AEE8-BAD15CE7991F}"/>
              </a:ext>
            </a:extLst>
          </p:cNvPr>
          <p:cNvSpPr/>
          <p:nvPr/>
        </p:nvSpPr>
        <p:spPr>
          <a:xfrm>
            <a:off x="3145753" y="2146148"/>
            <a:ext cx="8615780" cy="960120"/>
          </a:xfrm>
          <a:prstGeom prst="roundRect">
            <a:avLst/>
          </a:prstGeom>
          <a:noFill/>
          <a:ln>
            <a:solidFill>
              <a:srgbClr val="D4EBE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sym typeface="Arial" panose="020B0604020202020204" pitchFamily="34" charset="0"/>
            </a:endParaRPr>
          </a:p>
        </p:txBody>
      </p:sp>
      <p:sp>
        <p:nvSpPr>
          <p:cNvPr id="73" name="Rectangle: Rounded Corners 40">
            <a:extLst>
              <a:ext uri="{FF2B5EF4-FFF2-40B4-BE49-F238E27FC236}">
                <a16:creationId xmlns:a16="http://schemas.microsoft.com/office/drawing/2014/main" id="{D04AE179-8925-46B2-BDE5-4A555F81A696}"/>
              </a:ext>
            </a:extLst>
          </p:cNvPr>
          <p:cNvSpPr/>
          <p:nvPr/>
        </p:nvSpPr>
        <p:spPr>
          <a:xfrm>
            <a:off x="3145753" y="3144166"/>
            <a:ext cx="8615780" cy="225097"/>
          </a:xfrm>
          <a:prstGeom prst="roundRect">
            <a:avLst/>
          </a:prstGeom>
          <a:solidFill>
            <a:srgbClr val="064E69"/>
          </a:solidFill>
          <a:ln>
            <a:solidFill>
              <a:srgbClr val="064E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sym typeface="Arial" panose="020B0604020202020204" pitchFamily="34" charset="0"/>
            </a:endParaRPr>
          </a:p>
        </p:txBody>
      </p:sp>
      <p:sp>
        <p:nvSpPr>
          <p:cNvPr id="74" name="Rectangle: Rounded Corners 41">
            <a:extLst>
              <a:ext uri="{FF2B5EF4-FFF2-40B4-BE49-F238E27FC236}">
                <a16:creationId xmlns:a16="http://schemas.microsoft.com/office/drawing/2014/main" id="{26E86985-7B2A-4399-AAF8-34AB64EF9329}"/>
              </a:ext>
            </a:extLst>
          </p:cNvPr>
          <p:cNvSpPr/>
          <p:nvPr/>
        </p:nvSpPr>
        <p:spPr>
          <a:xfrm>
            <a:off x="3267790" y="3680844"/>
            <a:ext cx="2606040" cy="1371600"/>
          </a:xfrm>
          <a:prstGeom prst="roundRect">
            <a:avLst/>
          </a:prstGeom>
          <a:noFill/>
          <a:ln>
            <a:solidFill>
              <a:srgbClr val="487C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sym typeface="Arial" panose="020B0604020202020204" pitchFamily="34" charset="0"/>
            </a:endParaRPr>
          </a:p>
        </p:txBody>
      </p:sp>
      <p:sp>
        <p:nvSpPr>
          <p:cNvPr id="77" name="Rectangle: Rounded Corners 44">
            <a:extLst>
              <a:ext uri="{FF2B5EF4-FFF2-40B4-BE49-F238E27FC236}">
                <a16:creationId xmlns:a16="http://schemas.microsoft.com/office/drawing/2014/main" id="{BA2001CF-D8D5-4907-90B2-E90D7FF14EF6}"/>
              </a:ext>
            </a:extLst>
          </p:cNvPr>
          <p:cNvSpPr/>
          <p:nvPr/>
        </p:nvSpPr>
        <p:spPr>
          <a:xfrm>
            <a:off x="3400291" y="5408808"/>
            <a:ext cx="4008200" cy="685800"/>
          </a:xfrm>
          <a:prstGeom prst="roundRect">
            <a:avLst/>
          </a:prstGeom>
          <a:noFill/>
          <a:ln>
            <a:solidFill>
              <a:srgbClr val="487C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sym typeface="Arial" panose="020B0604020202020204" pitchFamily="34" charset="0"/>
            </a:endParaRPr>
          </a:p>
        </p:txBody>
      </p:sp>
      <p:sp>
        <p:nvSpPr>
          <p:cNvPr id="78" name="Rectangle: Rounded Corners 45">
            <a:extLst>
              <a:ext uri="{FF2B5EF4-FFF2-40B4-BE49-F238E27FC236}">
                <a16:creationId xmlns:a16="http://schemas.microsoft.com/office/drawing/2014/main" id="{11FD229B-1E4A-4FA7-998C-872074AEF622}"/>
              </a:ext>
            </a:extLst>
          </p:cNvPr>
          <p:cNvSpPr/>
          <p:nvPr/>
        </p:nvSpPr>
        <p:spPr>
          <a:xfrm>
            <a:off x="7548252" y="5408808"/>
            <a:ext cx="3977640" cy="685800"/>
          </a:xfrm>
          <a:prstGeom prst="roundRect">
            <a:avLst/>
          </a:prstGeom>
          <a:noFill/>
          <a:ln>
            <a:solidFill>
              <a:srgbClr val="487C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sym typeface="Arial" panose="020B0604020202020204" pitchFamily="34" charset="0"/>
            </a:endParaRPr>
          </a:p>
        </p:txBody>
      </p:sp>
      <p:sp>
        <p:nvSpPr>
          <p:cNvPr id="81" name="Rectangle 80">
            <a:extLst>
              <a:ext uri="{FF2B5EF4-FFF2-40B4-BE49-F238E27FC236}">
                <a16:creationId xmlns:a16="http://schemas.microsoft.com/office/drawing/2014/main" id="{D1950278-156A-40F1-A36F-9EC351DBE6DA}"/>
              </a:ext>
            </a:extLst>
          </p:cNvPr>
          <p:cNvSpPr/>
          <p:nvPr/>
        </p:nvSpPr>
        <p:spPr>
          <a:xfrm>
            <a:off x="5934008" y="5674203"/>
            <a:ext cx="3059372" cy="320040"/>
          </a:xfrm>
          <a:prstGeom prst="rect">
            <a:avLst/>
          </a:prstGeom>
          <a:solidFill>
            <a:srgbClr val="D1E9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Arial" panose="020B0604020202020204" pitchFamily="34" charset="0"/>
                <a:cs typeface="Arial" panose="020B0604020202020204" pitchFamily="34" charset="0"/>
                <a:sym typeface="Arial" panose="020B0604020202020204" pitchFamily="34" charset="0"/>
              </a:rPr>
              <a:t>Unified Data Fabric</a:t>
            </a:r>
            <a:r>
              <a:rPr lang="en-US" sz="1000" b="1" dirty="0">
                <a:solidFill>
                  <a:srgbClr val="FF0000"/>
                </a:solidFill>
                <a:latin typeface="Arial" panose="020B0604020202020204" pitchFamily="34" charset="0"/>
                <a:cs typeface="Arial" panose="020B0604020202020204" pitchFamily="34" charset="0"/>
                <a:sym typeface="Arial" panose="020B0604020202020204" pitchFamily="34" charset="0"/>
              </a:rPr>
              <a:t>*</a:t>
            </a:r>
          </a:p>
        </p:txBody>
      </p:sp>
      <p:sp>
        <p:nvSpPr>
          <p:cNvPr id="82" name="Rectangle: Rounded Corners 49">
            <a:extLst>
              <a:ext uri="{FF2B5EF4-FFF2-40B4-BE49-F238E27FC236}">
                <a16:creationId xmlns:a16="http://schemas.microsoft.com/office/drawing/2014/main" id="{7B93B837-57C3-470E-AA03-5420BCF90D57}"/>
              </a:ext>
            </a:extLst>
          </p:cNvPr>
          <p:cNvSpPr/>
          <p:nvPr/>
        </p:nvSpPr>
        <p:spPr>
          <a:xfrm>
            <a:off x="3763366" y="3720443"/>
            <a:ext cx="1795060" cy="201168"/>
          </a:xfrm>
          <a:prstGeom prst="roundRect">
            <a:avLst/>
          </a:prstGeom>
          <a:solidFill>
            <a:srgbClr val="0085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latin typeface="Arial" panose="020B0604020202020204" pitchFamily="34" charset="0"/>
                <a:cs typeface="Arial" panose="020B0604020202020204" pitchFamily="34" charset="0"/>
                <a:sym typeface="Arial" panose="020B0604020202020204" pitchFamily="34" charset="0"/>
              </a:rPr>
              <a:t>Benefit Admin Model</a:t>
            </a:r>
          </a:p>
        </p:txBody>
      </p:sp>
      <p:grpSp>
        <p:nvGrpSpPr>
          <p:cNvPr id="7" name="Group 6">
            <a:extLst>
              <a:ext uri="{FF2B5EF4-FFF2-40B4-BE49-F238E27FC236}">
                <a16:creationId xmlns:a16="http://schemas.microsoft.com/office/drawing/2014/main" id="{08556B40-47A5-4E77-B884-BF5842297781}"/>
              </a:ext>
            </a:extLst>
          </p:cNvPr>
          <p:cNvGrpSpPr/>
          <p:nvPr/>
        </p:nvGrpSpPr>
        <p:grpSpPr>
          <a:xfrm>
            <a:off x="5968967" y="3696842"/>
            <a:ext cx="1828800" cy="1367084"/>
            <a:chOff x="5968967" y="3718892"/>
            <a:chExt cx="1828800" cy="1367084"/>
          </a:xfrm>
        </p:grpSpPr>
        <p:sp>
          <p:nvSpPr>
            <p:cNvPr id="75" name="Rectangle: Rounded Corners 42">
              <a:extLst>
                <a:ext uri="{FF2B5EF4-FFF2-40B4-BE49-F238E27FC236}">
                  <a16:creationId xmlns:a16="http://schemas.microsoft.com/office/drawing/2014/main" id="{C159CF8C-A7C2-4F49-BF6D-ABD1E80627E7}"/>
                </a:ext>
              </a:extLst>
            </p:cNvPr>
            <p:cNvSpPr/>
            <p:nvPr/>
          </p:nvSpPr>
          <p:spPr>
            <a:xfrm>
              <a:off x="5968967" y="3718892"/>
              <a:ext cx="1828800" cy="1367084"/>
            </a:xfrm>
            <a:prstGeom prst="roundRect">
              <a:avLst/>
            </a:prstGeom>
            <a:noFill/>
            <a:ln>
              <a:solidFill>
                <a:srgbClr val="487C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sym typeface="Arial" panose="020B0604020202020204" pitchFamily="34" charset="0"/>
              </a:endParaRPr>
            </a:p>
          </p:txBody>
        </p:sp>
        <p:sp>
          <p:nvSpPr>
            <p:cNvPr id="79" name="Rectangle 78">
              <a:extLst>
                <a:ext uri="{FF2B5EF4-FFF2-40B4-BE49-F238E27FC236}">
                  <a16:creationId xmlns:a16="http://schemas.microsoft.com/office/drawing/2014/main" id="{AFB84DB0-03DA-4E3E-AFDE-A445CA4BD9AF}"/>
                </a:ext>
              </a:extLst>
            </p:cNvPr>
            <p:cNvSpPr/>
            <p:nvPr/>
          </p:nvSpPr>
          <p:spPr>
            <a:xfrm>
              <a:off x="6152467" y="4003263"/>
              <a:ext cx="1400272" cy="358072"/>
            </a:xfrm>
            <a:prstGeom prst="rect">
              <a:avLst/>
            </a:prstGeom>
            <a:solidFill>
              <a:srgbClr val="D1E9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Arial" panose="020B0604020202020204" pitchFamily="34" charset="0"/>
                  <a:cs typeface="Arial" panose="020B0604020202020204" pitchFamily="34" charset="0"/>
                  <a:sym typeface="Arial" panose="020B0604020202020204" pitchFamily="34" charset="0"/>
                </a:rPr>
                <a:t>Service Platform</a:t>
              </a:r>
              <a:r>
                <a:rPr lang="en-US" sz="1000" b="1" dirty="0">
                  <a:solidFill>
                    <a:srgbClr val="FF0000"/>
                  </a:solidFill>
                  <a:latin typeface="Arial" panose="020B0604020202020204" pitchFamily="34" charset="0"/>
                  <a:cs typeface="Arial" panose="020B0604020202020204" pitchFamily="34" charset="0"/>
                  <a:sym typeface="Arial" panose="020B0604020202020204" pitchFamily="34" charset="0"/>
                </a:rPr>
                <a:t>*</a:t>
              </a:r>
              <a:endParaRPr lang="en-US" sz="1000" b="1"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3" name="Rectangle: Rounded Corners 50">
              <a:extLst>
                <a:ext uri="{FF2B5EF4-FFF2-40B4-BE49-F238E27FC236}">
                  <a16:creationId xmlns:a16="http://schemas.microsoft.com/office/drawing/2014/main" id="{6FCA1E6C-6F69-4395-A7CA-844F68BD8986}"/>
                </a:ext>
              </a:extLst>
            </p:cNvPr>
            <p:cNvSpPr/>
            <p:nvPr/>
          </p:nvSpPr>
          <p:spPr>
            <a:xfrm>
              <a:off x="6217170" y="3774945"/>
              <a:ext cx="1193707" cy="187241"/>
            </a:xfrm>
            <a:prstGeom prst="roundRect">
              <a:avLst/>
            </a:prstGeom>
            <a:solidFill>
              <a:srgbClr val="0085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latin typeface="Arial" panose="020B0604020202020204" pitchFamily="34" charset="0"/>
                  <a:cs typeface="Arial" panose="020B0604020202020204" pitchFamily="34" charset="0"/>
                  <a:sym typeface="Arial" panose="020B0604020202020204" pitchFamily="34" charset="0"/>
                </a:rPr>
                <a:t>Service Model</a:t>
              </a:r>
            </a:p>
          </p:txBody>
        </p:sp>
      </p:grpSp>
      <p:sp>
        <p:nvSpPr>
          <p:cNvPr id="85" name="Rectangle: Rounded Corners 52">
            <a:extLst>
              <a:ext uri="{FF2B5EF4-FFF2-40B4-BE49-F238E27FC236}">
                <a16:creationId xmlns:a16="http://schemas.microsoft.com/office/drawing/2014/main" id="{D489A509-5FDA-4641-BF8C-A8D7B30F1995}"/>
              </a:ext>
            </a:extLst>
          </p:cNvPr>
          <p:cNvSpPr/>
          <p:nvPr/>
        </p:nvSpPr>
        <p:spPr>
          <a:xfrm>
            <a:off x="8550894" y="5406066"/>
            <a:ext cx="1965960" cy="201168"/>
          </a:xfrm>
          <a:prstGeom prst="roundRect">
            <a:avLst/>
          </a:prstGeom>
          <a:solidFill>
            <a:srgbClr val="0085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latin typeface="Arial" panose="020B0604020202020204" pitchFamily="34" charset="0"/>
                <a:cs typeface="Arial" panose="020B0604020202020204" pitchFamily="34" charset="0"/>
                <a:sym typeface="Arial" panose="020B0604020202020204" pitchFamily="34" charset="0"/>
              </a:rPr>
              <a:t>Actionable Insights</a:t>
            </a:r>
            <a:r>
              <a:rPr lang="en-US" sz="1100" b="1" dirty="0">
                <a:solidFill>
                  <a:srgbClr val="FF0000"/>
                </a:solidFill>
                <a:latin typeface="Arial" panose="020B0604020202020204" pitchFamily="34" charset="0"/>
                <a:cs typeface="Arial" panose="020B0604020202020204" pitchFamily="34" charset="0"/>
                <a:sym typeface="Arial" panose="020B0604020202020204" pitchFamily="34" charset="0"/>
              </a:rPr>
              <a:t>*</a:t>
            </a:r>
            <a:endParaRPr lang="en-US" sz="1100" b="1" dirty="0">
              <a:latin typeface="Arial" panose="020B0604020202020204" pitchFamily="34" charset="0"/>
              <a:cs typeface="Arial" panose="020B0604020202020204" pitchFamily="34" charset="0"/>
              <a:sym typeface="Arial" panose="020B0604020202020204" pitchFamily="34" charset="0"/>
            </a:endParaRPr>
          </a:p>
        </p:txBody>
      </p:sp>
      <p:sp>
        <p:nvSpPr>
          <p:cNvPr id="86" name="Rectangle: Rounded Corners 53">
            <a:extLst>
              <a:ext uri="{FF2B5EF4-FFF2-40B4-BE49-F238E27FC236}">
                <a16:creationId xmlns:a16="http://schemas.microsoft.com/office/drawing/2014/main" id="{A441C296-2485-4E25-B441-B380BD09867C}"/>
              </a:ext>
            </a:extLst>
          </p:cNvPr>
          <p:cNvSpPr/>
          <p:nvPr/>
        </p:nvSpPr>
        <p:spPr>
          <a:xfrm>
            <a:off x="4032791" y="5416699"/>
            <a:ext cx="2743200" cy="219456"/>
          </a:xfrm>
          <a:prstGeom prst="roundRect">
            <a:avLst/>
          </a:prstGeom>
          <a:solidFill>
            <a:srgbClr val="0085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latin typeface="Arial" panose="020B0604020202020204" pitchFamily="34" charset="0"/>
                <a:cs typeface="Arial" panose="020B0604020202020204" pitchFamily="34" charset="0"/>
                <a:sym typeface="Arial" panose="020B0604020202020204" pitchFamily="34" charset="0"/>
              </a:rPr>
              <a:t>Reporting &amp; Business Performance</a:t>
            </a:r>
          </a:p>
        </p:txBody>
      </p:sp>
      <p:sp>
        <p:nvSpPr>
          <p:cNvPr id="91" name="Rectangle 90">
            <a:extLst>
              <a:ext uri="{FF2B5EF4-FFF2-40B4-BE49-F238E27FC236}">
                <a16:creationId xmlns:a16="http://schemas.microsoft.com/office/drawing/2014/main" id="{8EA347C4-0FD2-4FFB-A548-4787FB6E8E2F}"/>
              </a:ext>
            </a:extLst>
          </p:cNvPr>
          <p:cNvSpPr/>
          <p:nvPr/>
        </p:nvSpPr>
        <p:spPr>
          <a:xfrm>
            <a:off x="3380848" y="2579299"/>
            <a:ext cx="2560320" cy="457200"/>
          </a:xfrm>
          <a:prstGeom prst="rect">
            <a:avLst/>
          </a:prstGeom>
          <a:solidFill>
            <a:srgbClr val="D1E9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Arial" panose="020B0604020202020204" pitchFamily="34" charset="0"/>
                <a:cs typeface="Arial" panose="020B0604020202020204" pitchFamily="34" charset="0"/>
                <a:sym typeface="Arial" panose="020B0604020202020204" pitchFamily="34" charset="0"/>
              </a:rPr>
              <a:t>Digital Consumer Experience</a:t>
            </a:r>
            <a:r>
              <a:rPr lang="en-US" sz="1000" b="1" dirty="0">
                <a:solidFill>
                  <a:srgbClr val="FF0000"/>
                </a:solidFill>
                <a:latin typeface="Arial" panose="020B0604020202020204" pitchFamily="34" charset="0"/>
                <a:cs typeface="Arial" panose="020B0604020202020204" pitchFamily="34" charset="0"/>
                <a:sym typeface="Arial" panose="020B0604020202020204" pitchFamily="34" charset="0"/>
              </a:rPr>
              <a:t>*</a:t>
            </a:r>
            <a:endParaRPr lang="en-US" sz="1000" i="1" dirty="0">
              <a:solidFill>
                <a:srgbClr val="FF0000"/>
              </a:solidFill>
              <a:latin typeface="Arial" panose="020B0604020202020204" pitchFamily="34" charset="0"/>
              <a:cs typeface="Arial" panose="020B0604020202020204" pitchFamily="34" charset="0"/>
              <a:sym typeface="Arial" panose="020B0604020202020204" pitchFamily="34" charset="0"/>
            </a:endParaRPr>
          </a:p>
          <a:p>
            <a:pPr algn="ctr"/>
            <a:r>
              <a:rPr lang="en-US" sz="1000" i="1" dirty="0">
                <a:solidFill>
                  <a:schemeClr val="tx1"/>
                </a:solidFill>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rPr>
              <a:t>(Apps, Shopping, Health Cloud)</a:t>
            </a:r>
          </a:p>
        </p:txBody>
      </p:sp>
      <p:sp>
        <p:nvSpPr>
          <p:cNvPr id="92" name="TextBox 91">
            <a:extLst>
              <a:ext uri="{FF2B5EF4-FFF2-40B4-BE49-F238E27FC236}">
                <a16:creationId xmlns:a16="http://schemas.microsoft.com/office/drawing/2014/main" id="{95DBDF4D-88A3-458A-B918-85D4B4C68706}"/>
              </a:ext>
            </a:extLst>
          </p:cNvPr>
          <p:cNvSpPr txBox="1"/>
          <p:nvPr/>
        </p:nvSpPr>
        <p:spPr>
          <a:xfrm>
            <a:off x="6579602" y="2157592"/>
            <a:ext cx="1748082" cy="265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b="1">
                <a:solidFill>
                  <a:srgbClr val="064E69"/>
                </a:solidFill>
                <a:latin typeface="Domaine Display Bold" panose="020A0803080505060203" pitchFamily="18" charset="0"/>
                <a:cs typeface="Open Sans 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dirty="0">
                <a:latin typeface="Arial" panose="020B0604020202020204" pitchFamily="34" charset="0"/>
                <a:cs typeface="Arial" panose="020B0604020202020204" pitchFamily="34" charset="0"/>
                <a:sym typeface="Arial" panose="020B0604020202020204" pitchFamily="34" charset="0"/>
              </a:rPr>
              <a:t>Engagement</a:t>
            </a:r>
          </a:p>
        </p:txBody>
      </p:sp>
      <p:sp>
        <p:nvSpPr>
          <p:cNvPr id="93" name="TextBox 92">
            <a:extLst>
              <a:ext uri="{FF2B5EF4-FFF2-40B4-BE49-F238E27FC236}">
                <a16:creationId xmlns:a16="http://schemas.microsoft.com/office/drawing/2014/main" id="{1B6E1662-2CB4-4B90-BD85-13E8D78B9267}"/>
              </a:ext>
            </a:extLst>
          </p:cNvPr>
          <p:cNvSpPr txBox="1"/>
          <p:nvPr/>
        </p:nvSpPr>
        <p:spPr>
          <a:xfrm>
            <a:off x="6579602" y="3415484"/>
            <a:ext cx="1748082" cy="265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b="1">
                <a:solidFill>
                  <a:srgbClr val="064E69"/>
                </a:solidFill>
                <a:latin typeface="Domaine Display Bold" panose="020A0803080505060203" pitchFamily="18" charset="0"/>
                <a:cs typeface="Open Sans 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dirty="0">
                <a:latin typeface="Arial" panose="020B0604020202020204" pitchFamily="34" charset="0"/>
                <a:cs typeface="Arial" panose="020B0604020202020204" pitchFamily="34" charset="0"/>
                <a:sym typeface="Arial" panose="020B0604020202020204" pitchFamily="34" charset="0"/>
              </a:rPr>
              <a:t>Transactional</a:t>
            </a:r>
          </a:p>
        </p:txBody>
      </p:sp>
      <p:sp>
        <p:nvSpPr>
          <p:cNvPr id="95" name="Rectangle 94">
            <a:extLst>
              <a:ext uri="{FF2B5EF4-FFF2-40B4-BE49-F238E27FC236}">
                <a16:creationId xmlns:a16="http://schemas.microsoft.com/office/drawing/2014/main" id="{C024F84C-B2FC-4EEE-9F6E-9192DE61B9D7}"/>
              </a:ext>
            </a:extLst>
          </p:cNvPr>
          <p:cNvSpPr/>
          <p:nvPr/>
        </p:nvSpPr>
        <p:spPr>
          <a:xfrm>
            <a:off x="8941624" y="2579299"/>
            <a:ext cx="2560320" cy="457200"/>
          </a:xfrm>
          <a:prstGeom prst="rect">
            <a:avLst/>
          </a:prstGeom>
          <a:solidFill>
            <a:srgbClr val="D1E9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Arial" panose="020B0604020202020204" pitchFamily="34" charset="0"/>
                <a:cs typeface="Arial" panose="020B0604020202020204" pitchFamily="34" charset="0"/>
                <a:sym typeface="Arial" panose="020B0604020202020204" pitchFamily="34" charset="0"/>
              </a:rPr>
              <a:t>Other Constituent Experience</a:t>
            </a:r>
            <a:r>
              <a:rPr lang="en-US" sz="1000" b="1" dirty="0">
                <a:solidFill>
                  <a:srgbClr val="FF0000"/>
                </a:solidFill>
                <a:latin typeface="Arial" panose="020B0604020202020204" pitchFamily="34" charset="0"/>
                <a:cs typeface="Arial" panose="020B0604020202020204" pitchFamily="34" charset="0"/>
                <a:sym typeface="Arial" panose="020B0604020202020204" pitchFamily="34" charset="0"/>
              </a:rPr>
              <a:t>*</a:t>
            </a:r>
          </a:p>
          <a:p>
            <a:pPr algn="ctr"/>
            <a:r>
              <a:rPr lang="en-US" sz="1000" i="1" dirty="0">
                <a:solidFill>
                  <a:schemeClr val="tx1"/>
                </a:solidFill>
                <a:latin typeface="Arial" panose="020B0604020202020204" pitchFamily="34" charset="0"/>
                <a:cs typeface="Arial" panose="020B0604020202020204" pitchFamily="34" charset="0"/>
                <a:sym typeface="Arial" panose="020B0604020202020204" pitchFamily="34" charset="0"/>
              </a:rPr>
              <a:t>(Plan Sponsor, Broker, Provider)</a:t>
            </a:r>
          </a:p>
        </p:txBody>
      </p:sp>
      <p:sp>
        <p:nvSpPr>
          <p:cNvPr id="96" name="TextBox 95">
            <a:extLst>
              <a:ext uri="{FF2B5EF4-FFF2-40B4-BE49-F238E27FC236}">
                <a16:creationId xmlns:a16="http://schemas.microsoft.com/office/drawing/2014/main" id="{A378C742-125A-48F5-903B-89AA1FA84723}"/>
              </a:ext>
            </a:extLst>
          </p:cNvPr>
          <p:cNvSpPr txBox="1"/>
          <p:nvPr/>
        </p:nvSpPr>
        <p:spPr>
          <a:xfrm>
            <a:off x="6577554" y="3131819"/>
            <a:ext cx="1748082" cy="265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b="1">
                <a:solidFill>
                  <a:srgbClr val="064E69"/>
                </a:solidFill>
                <a:latin typeface="Domaine Display Bold" panose="020A0803080505060203" pitchFamily="18" charset="0"/>
                <a:cs typeface="Open Sans 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000" dirty="0">
                <a:solidFill>
                  <a:schemeClr val="bg1"/>
                </a:solidFill>
                <a:latin typeface="Arial" panose="020B0604020202020204" pitchFamily="34" charset="0"/>
                <a:cs typeface="Arial" panose="020B0604020202020204" pitchFamily="34" charset="0"/>
                <a:sym typeface="Arial" panose="020B0604020202020204" pitchFamily="34" charset="0"/>
              </a:rPr>
              <a:t>Ecosystem Platform</a:t>
            </a:r>
          </a:p>
        </p:txBody>
      </p:sp>
      <p:sp>
        <p:nvSpPr>
          <p:cNvPr id="97" name="TextBox 96">
            <a:extLst>
              <a:ext uri="{FF2B5EF4-FFF2-40B4-BE49-F238E27FC236}">
                <a16:creationId xmlns:a16="http://schemas.microsoft.com/office/drawing/2014/main" id="{9795B2D4-09D8-4D01-9435-11312D460F27}"/>
              </a:ext>
            </a:extLst>
          </p:cNvPr>
          <p:cNvSpPr txBox="1"/>
          <p:nvPr/>
        </p:nvSpPr>
        <p:spPr>
          <a:xfrm>
            <a:off x="3139311" y="3131819"/>
            <a:ext cx="1097280" cy="265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b="1">
                <a:solidFill>
                  <a:srgbClr val="064E69"/>
                </a:solidFill>
                <a:latin typeface="Domaine Display Bold" panose="020A0803080505060203" pitchFamily="18" charset="0"/>
                <a:cs typeface="Open Sans 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dirty="0">
                <a:solidFill>
                  <a:schemeClr val="bg1"/>
                </a:solidFill>
                <a:latin typeface="Arial" panose="020B0604020202020204" pitchFamily="34" charset="0"/>
                <a:cs typeface="Arial" panose="020B0604020202020204" pitchFamily="34" charset="0"/>
                <a:sym typeface="Arial" panose="020B0604020202020204" pitchFamily="34" charset="0"/>
              </a:rPr>
              <a:t>Account for Life</a:t>
            </a:r>
          </a:p>
        </p:txBody>
      </p:sp>
      <p:sp>
        <p:nvSpPr>
          <p:cNvPr id="98" name="TextBox 97">
            <a:extLst>
              <a:ext uri="{FF2B5EF4-FFF2-40B4-BE49-F238E27FC236}">
                <a16:creationId xmlns:a16="http://schemas.microsoft.com/office/drawing/2014/main" id="{752578C7-7BF7-47AE-A971-9FFDEC8001DB}"/>
              </a:ext>
            </a:extLst>
          </p:cNvPr>
          <p:cNvSpPr txBox="1"/>
          <p:nvPr/>
        </p:nvSpPr>
        <p:spPr>
          <a:xfrm>
            <a:off x="4285392" y="3131819"/>
            <a:ext cx="1097280" cy="265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b="1">
                <a:solidFill>
                  <a:srgbClr val="064E69"/>
                </a:solidFill>
                <a:latin typeface="Domaine Display Bold" panose="020A0803080505060203" pitchFamily="18" charset="0"/>
                <a:cs typeface="Open Sans 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dirty="0">
                <a:solidFill>
                  <a:schemeClr val="bg1"/>
                </a:solidFill>
                <a:latin typeface="Arial" panose="020B0604020202020204" pitchFamily="34" charset="0"/>
                <a:cs typeface="Arial" panose="020B0604020202020204" pitchFamily="34" charset="0"/>
                <a:sym typeface="Arial" panose="020B0604020202020204" pitchFamily="34" charset="0"/>
              </a:rPr>
              <a:t>Global ID</a:t>
            </a:r>
          </a:p>
        </p:txBody>
      </p:sp>
      <p:sp>
        <p:nvSpPr>
          <p:cNvPr id="99" name="TextBox 98">
            <a:extLst>
              <a:ext uri="{FF2B5EF4-FFF2-40B4-BE49-F238E27FC236}">
                <a16:creationId xmlns:a16="http://schemas.microsoft.com/office/drawing/2014/main" id="{ED9F9B3B-D4BB-4357-8922-EBA68AE10FFD}"/>
              </a:ext>
            </a:extLst>
          </p:cNvPr>
          <p:cNvSpPr txBox="1"/>
          <p:nvPr/>
        </p:nvSpPr>
        <p:spPr>
          <a:xfrm>
            <a:off x="5431473" y="3131819"/>
            <a:ext cx="1097280" cy="265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b="1">
                <a:solidFill>
                  <a:srgbClr val="064E69"/>
                </a:solidFill>
                <a:latin typeface="Domaine Display Bold" panose="020A0803080505060203" pitchFamily="18" charset="0"/>
                <a:cs typeface="Open Sans 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dirty="0">
                <a:solidFill>
                  <a:schemeClr val="bg1"/>
                </a:solidFill>
                <a:latin typeface="Arial" panose="020B0604020202020204" pitchFamily="34" charset="0"/>
                <a:cs typeface="Arial" panose="020B0604020202020204" pitchFamily="34" charset="0"/>
                <a:sym typeface="Arial" panose="020B0604020202020204" pitchFamily="34" charset="0"/>
              </a:rPr>
              <a:t>Next Gen</a:t>
            </a:r>
          </a:p>
          <a:p>
            <a:r>
              <a:rPr lang="en-US" sz="900" dirty="0">
                <a:solidFill>
                  <a:schemeClr val="bg1"/>
                </a:solidFill>
                <a:latin typeface="Arial" panose="020B0604020202020204" pitchFamily="34" charset="0"/>
                <a:cs typeface="Arial" panose="020B0604020202020204" pitchFamily="34" charset="0"/>
                <a:sym typeface="Arial" panose="020B0604020202020204" pitchFamily="34" charset="0"/>
              </a:rPr>
              <a:t>Authentication</a:t>
            </a:r>
          </a:p>
        </p:txBody>
      </p:sp>
      <p:sp>
        <p:nvSpPr>
          <p:cNvPr id="100" name="TextBox 99">
            <a:extLst>
              <a:ext uri="{FF2B5EF4-FFF2-40B4-BE49-F238E27FC236}">
                <a16:creationId xmlns:a16="http://schemas.microsoft.com/office/drawing/2014/main" id="{7D7C3F04-2424-4D64-A030-2D2131578B3F}"/>
              </a:ext>
            </a:extLst>
          </p:cNvPr>
          <p:cNvSpPr txBox="1"/>
          <p:nvPr/>
        </p:nvSpPr>
        <p:spPr>
          <a:xfrm>
            <a:off x="8374436" y="3131819"/>
            <a:ext cx="1097280" cy="265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b="1">
                <a:solidFill>
                  <a:srgbClr val="064E69"/>
                </a:solidFill>
                <a:latin typeface="Domaine Display Bold" panose="020A0803080505060203" pitchFamily="18" charset="0"/>
                <a:cs typeface="Open Sans 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dirty="0">
                <a:solidFill>
                  <a:schemeClr val="bg1"/>
                </a:solidFill>
                <a:latin typeface="Arial" panose="020B0604020202020204" pitchFamily="34" charset="0"/>
                <a:cs typeface="Arial" panose="020B0604020202020204" pitchFamily="34" charset="0"/>
                <a:sym typeface="Arial" panose="020B0604020202020204" pitchFamily="34" charset="0"/>
              </a:rPr>
              <a:t>Preferences</a:t>
            </a:r>
          </a:p>
        </p:txBody>
      </p:sp>
      <p:sp>
        <p:nvSpPr>
          <p:cNvPr id="101" name="TextBox 100">
            <a:extLst>
              <a:ext uri="{FF2B5EF4-FFF2-40B4-BE49-F238E27FC236}">
                <a16:creationId xmlns:a16="http://schemas.microsoft.com/office/drawing/2014/main" id="{C2366B01-B551-449C-9D3B-82B73BC4EB5D}"/>
              </a:ext>
            </a:extLst>
          </p:cNvPr>
          <p:cNvSpPr txBox="1"/>
          <p:nvPr/>
        </p:nvSpPr>
        <p:spPr>
          <a:xfrm>
            <a:off x="9520516" y="3131819"/>
            <a:ext cx="1097280" cy="265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b="1">
                <a:solidFill>
                  <a:srgbClr val="064E69"/>
                </a:solidFill>
                <a:latin typeface="Domaine Display Bold" panose="020A0803080505060203" pitchFamily="18" charset="0"/>
                <a:cs typeface="Open Sans 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dirty="0">
                <a:solidFill>
                  <a:schemeClr val="bg1"/>
                </a:solidFill>
                <a:latin typeface="Arial" panose="020B0604020202020204" pitchFamily="34" charset="0"/>
                <a:cs typeface="Arial" panose="020B0604020202020204" pitchFamily="34" charset="0"/>
                <a:sym typeface="Arial" panose="020B0604020202020204" pitchFamily="34" charset="0"/>
              </a:rPr>
              <a:t>360 Profile</a:t>
            </a:r>
          </a:p>
        </p:txBody>
      </p:sp>
      <p:sp>
        <p:nvSpPr>
          <p:cNvPr id="102" name="TextBox 101">
            <a:extLst>
              <a:ext uri="{FF2B5EF4-FFF2-40B4-BE49-F238E27FC236}">
                <a16:creationId xmlns:a16="http://schemas.microsoft.com/office/drawing/2014/main" id="{046E180F-EA11-444A-ABE6-EF5E73895F24}"/>
              </a:ext>
            </a:extLst>
          </p:cNvPr>
          <p:cNvSpPr txBox="1"/>
          <p:nvPr/>
        </p:nvSpPr>
        <p:spPr>
          <a:xfrm>
            <a:off x="10666596" y="3131819"/>
            <a:ext cx="1097280" cy="265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b="1">
                <a:solidFill>
                  <a:srgbClr val="064E69"/>
                </a:solidFill>
                <a:latin typeface="Domaine Display Bold" panose="020A0803080505060203" pitchFamily="18" charset="0"/>
                <a:cs typeface="Open Sans 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dirty="0">
                <a:solidFill>
                  <a:schemeClr val="bg1"/>
                </a:solidFill>
                <a:latin typeface="Arial" panose="020B0604020202020204" pitchFamily="34" charset="0"/>
                <a:cs typeface="Arial" panose="020B0604020202020204" pitchFamily="34" charset="0"/>
                <a:sym typeface="Arial" panose="020B0604020202020204" pitchFamily="34" charset="0"/>
              </a:rPr>
              <a:t>Omni-Channel Interaction</a:t>
            </a:r>
          </a:p>
        </p:txBody>
      </p:sp>
      <p:sp>
        <p:nvSpPr>
          <p:cNvPr id="103" name="TextBox 102">
            <a:extLst>
              <a:ext uri="{FF2B5EF4-FFF2-40B4-BE49-F238E27FC236}">
                <a16:creationId xmlns:a16="http://schemas.microsoft.com/office/drawing/2014/main" id="{C913B5D0-93CC-4A23-8A6B-C03DD7721FB0}"/>
              </a:ext>
            </a:extLst>
          </p:cNvPr>
          <p:cNvSpPr txBox="1"/>
          <p:nvPr/>
        </p:nvSpPr>
        <p:spPr>
          <a:xfrm>
            <a:off x="6579602" y="5138032"/>
            <a:ext cx="1748082" cy="265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b="1">
                <a:solidFill>
                  <a:srgbClr val="064E69"/>
                </a:solidFill>
                <a:latin typeface="Domaine Display Bold" panose="020A0803080505060203" pitchFamily="18" charset="0"/>
                <a:cs typeface="Open Sans 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dirty="0">
                <a:latin typeface="Arial" panose="020B0604020202020204" pitchFamily="34" charset="0"/>
                <a:cs typeface="Arial" panose="020B0604020202020204" pitchFamily="34" charset="0"/>
                <a:sym typeface="Arial" panose="020B0604020202020204" pitchFamily="34" charset="0"/>
              </a:rPr>
              <a:t>Insights</a:t>
            </a:r>
          </a:p>
        </p:txBody>
      </p:sp>
      <p:sp>
        <p:nvSpPr>
          <p:cNvPr id="104" name="Rectangle 103">
            <a:extLst>
              <a:ext uri="{FF2B5EF4-FFF2-40B4-BE49-F238E27FC236}">
                <a16:creationId xmlns:a16="http://schemas.microsoft.com/office/drawing/2014/main" id="{F2A3743F-63A0-4BC4-B748-4AEE492C1820}"/>
              </a:ext>
            </a:extLst>
          </p:cNvPr>
          <p:cNvSpPr/>
          <p:nvPr/>
        </p:nvSpPr>
        <p:spPr>
          <a:xfrm>
            <a:off x="461011" y="2879434"/>
            <a:ext cx="2282191" cy="3635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7475" indent="-117475">
              <a:spcAft>
                <a:spcPts val="1600"/>
              </a:spcAft>
              <a:buFont typeface="Arial" panose="020B0604020202020204" pitchFamily="34" charset="0"/>
              <a:buChar char="•"/>
            </a:pPr>
            <a:r>
              <a:rPr lang="en-US" sz="1200" dirty="0">
                <a:solidFill>
                  <a:schemeClr val="tx2"/>
                </a:solidFill>
                <a:latin typeface="Arial" panose="020B0604020202020204" pitchFamily="34" charset="0"/>
                <a:cs typeface="Arial" panose="020B0604020202020204" pitchFamily="34" charset="0"/>
                <a:sym typeface="Arial" panose="020B0604020202020204" pitchFamily="34" charset="0"/>
              </a:rPr>
              <a:t>CVSH Digital activities</a:t>
            </a:r>
          </a:p>
          <a:p>
            <a:pPr marL="117475" indent="-117475">
              <a:spcAft>
                <a:spcPts val="1600"/>
              </a:spcAft>
              <a:buFont typeface="Arial" panose="020B0604020202020204" pitchFamily="34" charset="0"/>
              <a:buChar char="•"/>
            </a:pPr>
            <a:r>
              <a:rPr lang="en-US" sz="1200" dirty="0">
                <a:solidFill>
                  <a:schemeClr val="tx2"/>
                </a:solidFill>
                <a:latin typeface="Arial" panose="020B0604020202020204" pitchFamily="34" charset="0"/>
                <a:cs typeface="Arial" panose="020B0604020202020204" pitchFamily="34" charset="0"/>
                <a:sym typeface="Arial" panose="020B0604020202020204" pitchFamily="34" charset="0"/>
              </a:rPr>
              <a:t>Apple Partnership</a:t>
            </a:r>
          </a:p>
          <a:p>
            <a:pPr marL="117475" indent="-117475">
              <a:spcAft>
                <a:spcPts val="1600"/>
              </a:spcAft>
              <a:buFont typeface="Arial" panose="020B0604020202020204" pitchFamily="34" charset="0"/>
              <a:buChar char="•"/>
            </a:pPr>
            <a:r>
              <a:rPr lang="en-US" sz="1200" dirty="0">
                <a:solidFill>
                  <a:schemeClr val="tx2"/>
                </a:solidFill>
                <a:latin typeface="Arial" panose="020B0604020202020204" pitchFamily="34" charset="0"/>
                <a:cs typeface="Arial" panose="020B0604020202020204" pitchFamily="34" charset="0"/>
                <a:sym typeface="Arial" panose="020B0604020202020204" pitchFamily="34" charset="0"/>
              </a:rPr>
              <a:t>Pop Health VBC</a:t>
            </a:r>
          </a:p>
          <a:p>
            <a:pPr marL="117475" indent="-117475">
              <a:spcAft>
                <a:spcPts val="1600"/>
              </a:spcAft>
              <a:buFont typeface="Arial" panose="020B0604020202020204" pitchFamily="34" charset="0"/>
              <a:buChar char="•"/>
            </a:pPr>
            <a:r>
              <a:rPr lang="en-US" sz="1200" dirty="0">
                <a:solidFill>
                  <a:schemeClr val="tx2"/>
                </a:solidFill>
                <a:latin typeface="Arial" panose="020B0604020202020204" pitchFamily="34" charset="0"/>
                <a:cs typeface="Arial" panose="020B0604020202020204" pitchFamily="34" charset="0"/>
                <a:sym typeface="Arial" panose="020B0604020202020204" pitchFamily="34" charset="0"/>
              </a:rPr>
              <a:t>Medicare NextGen</a:t>
            </a:r>
          </a:p>
          <a:p>
            <a:pPr marL="117475" indent="-117475">
              <a:spcAft>
                <a:spcPts val="1600"/>
              </a:spcAft>
              <a:buFont typeface="Arial" panose="020B0604020202020204" pitchFamily="34" charset="0"/>
              <a:buChar char="•"/>
            </a:pPr>
            <a:r>
              <a:rPr lang="en-US" sz="1200" dirty="0" err="1">
                <a:solidFill>
                  <a:schemeClr val="tx2"/>
                </a:solidFill>
                <a:latin typeface="Arial" panose="020B0604020202020204" pitchFamily="34" charset="0"/>
                <a:cs typeface="Arial" panose="020B0604020202020204" pitchFamily="34" charset="0"/>
                <a:sym typeface="Arial" panose="020B0604020202020204" pitchFamily="34" charset="0"/>
              </a:rPr>
              <a:t>ElevateCare</a:t>
            </a:r>
            <a:endParaRPr lang="en-US" sz="1200" dirty="0">
              <a:solidFill>
                <a:schemeClr val="tx2"/>
              </a:solidFill>
              <a:latin typeface="Arial" panose="020B0604020202020204" pitchFamily="34" charset="0"/>
              <a:cs typeface="Arial" panose="020B0604020202020204" pitchFamily="34" charset="0"/>
              <a:sym typeface="Arial" panose="020B0604020202020204" pitchFamily="34" charset="0"/>
            </a:endParaRPr>
          </a:p>
          <a:p>
            <a:pPr marL="117475" indent="-117475">
              <a:spcAft>
                <a:spcPts val="1600"/>
              </a:spcAft>
              <a:buFont typeface="Arial" panose="020B0604020202020204" pitchFamily="34" charset="0"/>
              <a:buChar char="•"/>
            </a:pPr>
            <a:r>
              <a:rPr lang="en-US" sz="1200" dirty="0">
                <a:solidFill>
                  <a:schemeClr val="tx2"/>
                </a:solidFill>
                <a:latin typeface="Arial" panose="020B0604020202020204" pitchFamily="34" charset="0"/>
                <a:cs typeface="Arial" panose="020B0604020202020204" pitchFamily="34" charset="0"/>
                <a:sym typeface="Arial" panose="020B0604020202020204" pitchFamily="34" charset="0"/>
              </a:rPr>
              <a:t>Guided Personal Service</a:t>
            </a:r>
          </a:p>
          <a:p>
            <a:pPr marL="117475" indent="-117475">
              <a:spcAft>
                <a:spcPts val="1600"/>
              </a:spcAft>
              <a:buFont typeface="Arial" panose="020B0604020202020204" pitchFamily="34" charset="0"/>
              <a:buChar char="•"/>
            </a:pPr>
            <a:r>
              <a:rPr lang="en-US" sz="1200" dirty="0">
                <a:solidFill>
                  <a:schemeClr val="tx2"/>
                </a:solidFill>
                <a:latin typeface="Arial" panose="020B0604020202020204" pitchFamily="34" charset="0"/>
                <a:cs typeface="Arial" panose="020B0604020202020204" pitchFamily="34" charset="0"/>
                <a:sym typeface="Arial" panose="020B0604020202020204" pitchFamily="34" charset="0"/>
              </a:rPr>
              <a:t>Clinical Platform</a:t>
            </a:r>
          </a:p>
          <a:p>
            <a:pPr marL="117475" indent="-117475">
              <a:spcAft>
                <a:spcPts val="1600"/>
              </a:spcAft>
              <a:buFont typeface="Arial" panose="020B0604020202020204" pitchFamily="34" charset="0"/>
              <a:buChar char="•"/>
            </a:pPr>
            <a:r>
              <a:rPr lang="en-US" sz="1200" dirty="0">
                <a:solidFill>
                  <a:schemeClr val="tx2"/>
                </a:solidFill>
                <a:latin typeface="Arial" panose="020B0604020202020204" pitchFamily="34" charset="0"/>
                <a:cs typeface="Arial" panose="020B0604020202020204" pitchFamily="34" charset="0"/>
                <a:sym typeface="Arial" panose="020B0604020202020204" pitchFamily="34" charset="0"/>
              </a:rPr>
              <a:t>10+ PA Systems</a:t>
            </a:r>
          </a:p>
          <a:p>
            <a:pPr marL="117475" indent="-117475">
              <a:spcAft>
                <a:spcPts val="1600"/>
              </a:spcAft>
              <a:buFont typeface="Arial" panose="020B0604020202020204" pitchFamily="34" charset="0"/>
              <a:buChar char="•"/>
            </a:pPr>
            <a:r>
              <a:rPr lang="en-US" sz="1200" dirty="0">
                <a:solidFill>
                  <a:schemeClr val="tx2"/>
                </a:solidFill>
                <a:latin typeface="Arial" panose="020B0604020202020204" pitchFamily="34" charset="0"/>
                <a:cs typeface="Arial" panose="020B0604020202020204" pitchFamily="34" charset="0"/>
                <a:sym typeface="Arial" panose="020B0604020202020204" pitchFamily="34" charset="0"/>
              </a:rPr>
              <a:t>Epic</a:t>
            </a:r>
          </a:p>
          <a:p>
            <a:pPr marL="117475" indent="-117475">
              <a:spcAft>
                <a:spcPts val="1600"/>
              </a:spcAft>
              <a:buFont typeface="Arial" panose="020B0604020202020204" pitchFamily="34" charset="0"/>
              <a:buChar char="•"/>
            </a:pPr>
            <a:r>
              <a:rPr lang="en-US" sz="1200" dirty="0">
                <a:solidFill>
                  <a:schemeClr val="tx2"/>
                </a:solidFill>
                <a:latin typeface="Arial" panose="020B0604020202020204" pitchFamily="34" charset="0"/>
                <a:cs typeface="Arial" panose="020B0604020202020204" pitchFamily="34" charset="0"/>
                <a:sym typeface="Arial" panose="020B0604020202020204" pitchFamily="34" charset="0"/>
              </a:rPr>
              <a:t>Financial Data Repository</a:t>
            </a:r>
          </a:p>
        </p:txBody>
      </p:sp>
      <p:sp>
        <p:nvSpPr>
          <p:cNvPr id="105" name="Rectangle: Rounded Corners 3">
            <a:extLst>
              <a:ext uri="{FF2B5EF4-FFF2-40B4-BE49-F238E27FC236}">
                <a16:creationId xmlns:a16="http://schemas.microsoft.com/office/drawing/2014/main" id="{9FD0AD19-8C67-4DC5-A602-01439E0F6694}"/>
              </a:ext>
            </a:extLst>
          </p:cNvPr>
          <p:cNvSpPr/>
          <p:nvPr/>
        </p:nvSpPr>
        <p:spPr>
          <a:xfrm>
            <a:off x="292494" y="2237914"/>
            <a:ext cx="2194560" cy="36576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ct val="0"/>
              </a:spcBef>
            </a:pPr>
            <a:r>
              <a:rPr lang="en-US" b="1" dirty="0">
                <a:solidFill>
                  <a:schemeClr val="tx2"/>
                </a:solidFill>
                <a:latin typeface="Arial" panose="020B0604020202020204" pitchFamily="34" charset="0"/>
                <a:ea typeface="Domaine Display" charset="0"/>
                <a:cs typeface="Arial" panose="020B0604020202020204" pitchFamily="34" charset="0"/>
                <a:sym typeface="Arial" panose="020B0604020202020204" pitchFamily="34" charset="0"/>
              </a:rPr>
              <a:t>Major Ongoing Programs</a:t>
            </a:r>
          </a:p>
        </p:txBody>
      </p:sp>
      <p:sp>
        <p:nvSpPr>
          <p:cNvPr id="106" name="Oval 105">
            <a:extLst>
              <a:ext uri="{FF2B5EF4-FFF2-40B4-BE49-F238E27FC236}">
                <a16:creationId xmlns:a16="http://schemas.microsoft.com/office/drawing/2014/main" id="{4CC75E1D-DBC3-476D-9D84-C7D8EEF07AD2}"/>
              </a:ext>
            </a:extLst>
          </p:cNvPr>
          <p:cNvSpPr/>
          <p:nvPr/>
        </p:nvSpPr>
        <p:spPr>
          <a:xfrm>
            <a:off x="286426" y="2827479"/>
            <a:ext cx="320040" cy="320040"/>
          </a:xfrm>
          <a:prstGeom prst="ellipse">
            <a:avLst/>
          </a:prstGeom>
          <a:solidFill>
            <a:schemeClr val="tx1">
              <a:lumMod val="50000"/>
              <a:lumOff val="5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Arial" panose="020B0604020202020204" pitchFamily="34" charset="0"/>
                <a:cs typeface="Arial" panose="020B0604020202020204" pitchFamily="34" charset="0"/>
                <a:sym typeface="Arial" panose="020B0604020202020204" pitchFamily="34" charset="0"/>
              </a:rPr>
              <a:t>1</a:t>
            </a:r>
          </a:p>
        </p:txBody>
      </p:sp>
      <p:sp>
        <p:nvSpPr>
          <p:cNvPr id="107" name="Oval 106">
            <a:extLst>
              <a:ext uri="{FF2B5EF4-FFF2-40B4-BE49-F238E27FC236}">
                <a16:creationId xmlns:a16="http://schemas.microsoft.com/office/drawing/2014/main" id="{9FB13803-8221-4CBE-B9E9-9650FB72A683}"/>
              </a:ext>
            </a:extLst>
          </p:cNvPr>
          <p:cNvSpPr/>
          <p:nvPr/>
        </p:nvSpPr>
        <p:spPr>
          <a:xfrm>
            <a:off x="286426" y="3215033"/>
            <a:ext cx="320040" cy="320040"/>
          </a:xfrm>
          <a:prstGeom prst="ellipse">
            <a:avLst/>
          </a:prstGeom>
          <a:solidFill>
            <a:schemeClr val="tx1">
              <a:lumMod val="50000"/>
              <a:lumOff val="5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Arial" panose="020B0604020202020204" pitchFamily="34" charset="0"/>
                <a:cs typeface="Arial" panose="020B0604020202020204" pitchFamily="34" charset="0"/>
                <a:sym typeface="Arial" panose="020B0604020202020204" pitchFamily="34" charset="0"/>
              </a:rPr>
              <a:t>2</a:t>
            </a:r>
          </a:p>
        </p:txBody>
      </p:sp>
      <p:sp>
        <p:nvSpPr>
          <p:cNvPr id="108" name="Oval 107">
            <a:extLst>
              <a:ext uri="{FF2B5EF4-FFF2-40B4-BE49-F238E27FC236}">
                <a16:creationId xmlns:a16="http://schemas.microsoft.com/office/drawing/2014/main" id="{6153FF62-6A89-472F-97A6-7B286D6FF97A}"/>
              </a:ext>
            </a:extLst>
          </p:cNvPr>
          <p:cNvSpPr/>
          <p:nvPr/>
        </p:nvSpPr>
        <p:spPr>
          <a:xfrm>
            <a:off x="286426" y="3602587"/>
            <a:ext cx="320040" cy="320040"/>
          </a:xfrm>
          <a:prstGeom prst="ellipse">
            <a:avLst/>
          </a:prstGeom>
          <a:solidFill>
            <a:schemeClr val="tx1">
              <a:lumMod val="50000"/>
              <a:lumOff val="5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Arial" panose="020B0604020202020204" pitchFamily="34" charset="0"/>
                <a:cs typeface="Arial" panose="020B0604020202020204" pitchFamily="34" charset="0"/>
                <a:sym typeface="Arial" panose="020B0604020202020204" pitchFamily="34" charset="0"/>
              </a:rPr>
              <a:t>3</a:t>
            </a:r>
          </a:p>
        </p:txBody>
      </p:sp>
      <p:sp>
        <p:nvSpPr>
          <p:cNvPr id="109" name="Oval 108">
            <a:extLst>
              <a:ext uri="{FF2B5EF4-FFF2-40B4-BE49-F238E27FC236}">
                <a16:creationId xmlns:a16="http://schemas.microsoft.com/office/drawing/2014/main" id="{553D365A-F2E0-43BA-BEB8-0D55121413F5}"/>
              </a:ext>
            </a:extLst>
          </p:cNvPr>
          <p:cNvSpPr/>
          <p:nvPr/>
        </p:nvSpPr>
        <p:spPr>
          <a:xfrm>
            <a:off x="286426" y="3990141"/>
            <a:ext cx="320040" cy="320040"/>
          </a:xfrm>
          <a:prstGeom prst="ellipse">
            <a:avLst/>
          </a:prstGeom>
          <a:solidFill>
            <a:schemeClr val="tx1">
              <a:lumMod val="50000"/>
              <a:lumOff val="5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Arial" panose="020B0604020202020204" pitchFamily="34" charset="0"/>
                <a:cs typeface="Arial" panose="020B0604020202020204" pitchFamily="34" charset="0"/>
                <a:sym typeface="Arial" panose="020B0604020202020204" pitchFamily="34" charset="0"/>
              </a:rPr>
              <a:t>4</a:t>
            </a:r>
          </a:p>
        </p:txBody>
      </p:sp>
      <p:sp>
        <p:nvSpPr>
          <p:cNvPr id="110" name="Oval 109">
            <a:extLst>
              <a:ext uri="{FF2B5EF4-FFF2-40B4-BE49-F238E27FC236}">
                <a16:creationId xmlns:a16="http://schemas.microsoft.com/office/drawing/2014/main" id="{0D9F0F1A-7A49-4876-81CD-4A0033B895B7}"/>
              </a:ext>
            </a:extLst>
          </p:cNvPr>
          <p:cNvSpPr/>
          <p:nvPr/>
        </p:nvSpPr>
        <p:spPr>
          <a:xfrm>
            <a:off x="286426" y="4377695"/>
            <a:ext cx="320040" cy="320040"/>
          </a:xfrm>
          <a:prstGeom prst="ellipse">
            <a:avLst/>
          </a:prstGeom>
          <a:solidFill>
            <a:schemeClr val="tx1">
              <a:lumMod val="50000"/>
              <a:lumOff val="5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Arial" panose="020B0604020202020204" pitchFamily="34" charset="0"/>
                <a:cs typeface="Arial" panose="020B0604020202020204" pitchFamily="34" charset="0"/>
                <a:sym typeface="Arial" panose="020B0604020202020204" pitchFamily="34" charset="0"/>
              </a:rPr>
              <a:t>5</a:t>
            </a:r>
          </a:p>
        </p:txBody>
      </p:sp>
      <p:sp>
        <p:nvSpPr>
          <p:cNvPr id="111" name="Oval 110">
            <a:extLst>
              <a:ext uri="{FF2B5EF4-FFF2-40B4-BE49-F238E27FC236}">
                <a16:creationId xmlns:a16="http://schemas.microsoft.com/office/drawing/2014/main" id="{35460643-7CEB-4C9F-91D1-506AF912320B}"/>
              </a:ext>
            </a:extLst>
          </p:cNvPr>
          <p:cNvSpPr/>
          <p:nvPr/>
        </p:nvSpPr>
        <p:spPr>
          <a:xfrm>
            <a:off x="286426" y="4765249"/>
            <a:ext cx="320040" cy="320040"/>
          </a:xfrm>
          <a:prstGeom prst="ellipse">
            <a:avLst/>
          </a:prstGeom>
          <a:solidFill>
            <a:schemeClr val="tx1">
              <a:lumMod val="50000"/>
              <a:lumOff val="5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Arial" panose="020B0604020202020204" pitchFamily="34" charset="0"/>
                <a:cs typeface="Arial" panose="020B0604020202020204" pitchFamily="34" charset="0"/>
                <a:sym typeface="Arial" panose="020B0604020202020204" pitchFamily="34" charset="0"/>
              </a:rPr>
              <a:t>6</a:t>
            </a:r>
          </a:p>
        </p:txBody>
      </p:sp>
      <p:sp>
        <p:nvSpPr>
          <p:cNvPr id="112" name="Oval 111">
            <a:extLst>
              <a:ext uri="{FF2B5EF4-FFF2-40B4-BE49-F238E27FC236}">
                <a16:creationId xmlns:a16="http://schemas.microsoft.com/office/drawing/2014/main" id="{A593A15A-531A-4A71-B98D-70D41B6EED7E}"/>
              </a:ext>
            </a:extLst>
          </p:cNvPr>
          <p:cNvSpPr/>
          <p:nvPr/>
        </p:nvSpPr>
        <p:spPr>
          <a:xfrm>
            <a:off x="286426" y="5152803"/>
            <a:ext cx="320040" cy="320040"/>
          </a:xfrm>
          <a:prstGeom prst="ellipse">
            <a:avLst/>
          </a:prstGeom>
          <a:solidFill>
            <a:schemeClr val="tx1">
              <a:lumMod val="50000"/>
              <a:lumOff val="5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Arial" panose="020B0604020202020204" pitchFamily="34" charset="0"/>
                <a:cs typeface="Arial" panose="020B0604020202020204" pitchFamily="34" charset="0"/>
                <a:sym typeface="Arial" panose="020B0604020202020204" pitchFamily="34" charset="0"/>
              </a:rPr>
              <a:t>7</a:t>
            </a:r>
          </a:p>
        </p:txBody>
      </p:sp>
      <p:sp>
        <p:nvSpPr>
          <p:cNvPr id="114" name="Oval 113">
            <a:extLst>
              <a:ext uri="{FF2B5EF4-FFF2-40B4-BE49-F238E27FC236}">
                <a16:creationId xmlns:a16="http://schemas.microsoft.com/office/drawing/2014/main" id="{856DDB14-F3AF-4CD1-AFF2-5414E732669E}"/>
              </a:ext>
            </a:extLst>
          </p:cNvPr>
          <p:cNvSpPr/>
          <p:nvPr/>
        </p:nvSpPr>
        <p:spPr>
          <a:xfrm>
            <a:off x="286426" y="5927910"/>
            <a:ext cx="320040" cy="320040"/>
          </a:xfrm>
          <a:prstGeom prst="ellipse">
            <a:avLst/>
          </a:prstGeom>
          <a:solidFill>
            <a:schemeClr val="tx1">
              <a:lumMod val="50000"/>
              <a:lumOff val="5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Arial" panose="020B0604020202020204" pitchFamily="34" charset="0"/>
                <a:cs typeface="Arial" panose="020B0604020202020204" pitchFamily="34" charset="0"/>
                <a:sym typeface="Arial" panose="020B0604020202020204" pitchFamily="34" charset="0"/>
              </a:rPr>
              <a:t>9</a:t>
            </a:r>
          </a:p>
        </p:txBody>
      </p:sp>
      <p:sp>
        <p:nvSpPr>
          <p:cNvPr id="115" name="Oval 114">
            <a:extLst>
              <a:ext uri="{FF2B5EF4-FFF2-40B4-BE49-F238E27FC236}">
                <a16:creationId xmlns:a16="http://schemas.microsoft.com/office/drawing/2014/main" id="{E0BCE580-8070-447B-BE0C-4FD53484D90D}"/>
              </a:ext>
            </a:extLst>
          </p:cNvPr>
          <p:cNvSpPr/>
          <p:nvPr/>
        </p:nvSpPr>
        <p:spPr>
          <a:xfrm>
            <a:off x="5877800" y="5668225"/>
            <a:ext cx="320040" cy="320040"/>
          </a:xfrm>
          <a:prstGeom prst="ellipse">
            <a:avLst/>
          </a:prstGeom>
          <a:solidFill>
            <a:schemeClr val="tx1">
              <a:lumMod val="50000"/>
              <a:lumOff val="5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Arial" panose="020B0604020202020204" pitchFamily="34" charset="0"/>
                <a:cs typeface="Arial" panose="020B0604020202020204" pitchFamily="34" charset="0"/>
                <a:sym typeface="Arial" panose="020B0604020202020204" pitchFamily="34" charset="0"/>
              </a:rPr>
              <a:t>10</a:t>
            </a:r>
          </a:p>
        </p:txBody>
      </p:sp>
      <p:sp>
        <p:nvSpPr>
          <p:cNvPr id="120" name="Oval 119">
            <a:extLst>
              <a:ext uri="{FF2B5EF4-FFF2-40B4-BE49-F238E27FC236}">
                <a16:creationId xmlns:a16="http://schemas.microsoft.com/office/drawing/2014/main" id="{7C7A2105-2FDB-4F4E-89F6-00A529FAF069}"/>
              </a:ext>
            </a:extLst>
          </p:cNvPr>
          <p:cNvSpPr/>
          <p:nvPr/>
        </p:nvSpPr>
        <p:spPr>
          <a:xfrm>
            <a:off x="5982682" y="4001580"/>
            <a:ext cx="320040" cy="320040"/>
          </a:xfrm>
          <a:prstGeom prst="ellipse">
            <a:avLst/>
          </a:prstGeom>
          <a:solidFill>
            <a:schemeClr val="tx1">
              <a:lumMod val="50000"/>
              <a:lumOff val="5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Arial" panose="020B0604020202020204" pitchFamily="34" charset="0"/>
                <a:cs typeface="Arial" panose="020B0604020202020204" pitchFamily="34" charset="0"/>
                <a:sym typeface="Arial" panose="020B0604020202020204" pitchFamily="34" charset="0"/>
              </a:rPr>
              <a:t>5</a:t>
            </a:r>
          </a:p>
        </p:txBody>
      </p:sp>
      <p:sp>
        <p:nvSpPr>
          <p:cNvPr id="121" name="Oval 120">
            <a:extLst>
              <a:ext uri="{FF2B5EF4-FFF2-40B4-BE49-F238E27FC236}">
                <a16:creationId xmlns:a16="http://schemas.microsoft.com/office/drawing/2014/main" id="{DA952A1A-14CC-46BC-AD2B-3D432AB6B869}"/>
              </a:ext>
            </a:extLst>
          </p:cNvPr>
          <p:cNvSpPr/>
          <p:nvPr/>
        </p:nvSpPr>
        <p:spPr>
          <a:xfrm>
            <a:off x="7391547" y="4006300"/>
            <a:ext cx="320040" cy="320040"/>
          </a:xfrm>
          <a:prstGeom prst="ellipse">
            <a:avLst/>
          </a:prstGeom>
          <a:solidFill>
            <a:schemeClr val="tx1">
              <a:lumMod val="50000"/>
              <a:lumOff val="5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Arial" panose="020B0604020202020204" pitchFamily="34" charset="0"/>
                <a:cs typeface="Arial" panose="020B0604020202020204" pitchFamily="34" charset="0"/>
                <a:sym typeface="Arial" panose="020B0604020202020204" pitchFamily="34" charset="0"/>
              </a:rPr>
              <a:t>6</a:t>
            </a:r>
          </a:p>
        </p:txBody>
      </p:sp>
      <p:sp>
        <p:nvSpPr>
          <p:cNvPr id="122" name="Oval 121">
            <a:extLst>
              <a:ext uri="{FF2B5EF4-FFF2-40B4-BE49-F238E27FC236}">
                <a16:creationId xmlns:a16="http://schemas.microsoft.com/office/drawing/2014/main" id="{3E7470E8-00C1-44ED-94C2-7CD1332BB546}"/>
              </a:ext>
            </a:extLst>
          </p:cNvPr>
          <p:cNvSpPr/>
          <p:nvPr/>
        </p:nvSpPr>
        <p:spPr>
          <a:xfrm>
            <a:off x="3233758" y="2406256"/>
            <a:ext cx="320040" cy="320040"/>
          </a:xfrm>
          <a:prstGeom prst="ellipse">
            <a:avLst/>
          </a:prstGeom>
          <a:solidFill>
            <a:schemeClr val="tx1">
              <a:lumMod val="50000"/>
              <a:lumOff val="5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Arial" panose="020B0604020202020204" pitchFamily="34" charset="0"/>
                <a:cs typeface="Arial" panose="020B0604020202020204" pitchFamily="34" charset="0"/>
                <a:sym typeface="Arial" panose="020B0604020202020204" pitchFamily="34" charset="0"/>
              </a:rPr>
              <a:t>1</a:t>
            </a:r>
          </a:p>
        </p:txBody>
      </p:sp>
      <p:sp>
        <p:nvSpPr>
          <p:cNvPr id="123" name="Oval 122">
            <a:extLst>
              <a:ext uri="{FF2B5EF4-FFF2-40B4-BE49-F238E27FC236}">
                <a16:creationId xmlns:a16="http://schemas.microsoft.com/office/drawing/2014/main" id="{1EE83CC1-5057-4736-A65B-44DCA4B6B4B3}"/>
              </a:ext>
            </a:extLst>
          </p:cNvPr>
          <p:cNvSpPr/>
          <p:nvPr/>
        </p:nvSpPr>
        <p:spPr>
          <a:xfrm>
            <a:off x="5777131" y="2406256"/>
            <a:ext cx="320040" cy="320040"/>
          </a:xfrm>
          <a:prstGeom prst="ellipse">
            <a:avLst/>
          </a:prstGeom>
          <a:solidFill>
            <a:schemeClr val="tx1">
              <a:lumMod val="50000"/>
              <a:lumOff val="5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Arial" panose="020B0604020202020204" pitchFamily="34" charset="0"/>
                <a:cs typeface="Arial" panose="020B0604020202020204" pitchFamily="34" charset="0"/>
                <a:sym typeface="Arial" panose="020B0604020202020204" pitchFamily="34" charset="0"/>
              </a:rPr>
              <a:t>2</a:t>
            </a:r>
          </a:p>
        </p:txBody>
      </p:sp>
      <p:cxnSp>
        <p:nvCxnSpPr>
          <p:cNvPr id="124" name="Straight Connector 123"/>
          <p:cNvCxnSpPr/>
          <p:nvPr/>
        </p:nvCxnSpPr>
        <p:spPr>
          <a:xfrm>
            <a:off x="292494" y="2726296"/>
            <a:ext cx="2194560" cy="0"/>
          </a:xfrm>
          <a:prstGeom prst="line">
            <a:avLst/>
          </a:prstGeom>
          <a:ln w="9525"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125" name="Group 124"/>
          <p:cNvGrpSpPr/>
          <p:nvPr/>
        </p:nvGrpSpPr>
        <p:grpSpPr>
          <a:xfrm>
            <a:off x="1138314" y="1617061"/>
            <a:ext cx="502920" cy="502920"/>
            <a:chOff x="-365760" y="1797627"/>
            <a:chExt cx="502920" cy="502920"/>
          </a:xfrm>
        </p:grpSpPr>
        <p:sp>
          <p:nvSpPr>
            <p:cNvPr id="126" name="Oval 125"/>
            <p:cNvSpPr>
              <a:spLocks noChangeAspect="1"/>
            </p:cNvSpPr>
            <p:nvPr/>
          </p:nvSpPr>
          <p:spPr>
            <a:xfrm>
              <a:off x="-342900" y="1820487"/>
              <a:ext cx="457200" cy="45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sym typeface="Arial" panose="020B0604020202020204" pitchFamily="34" charset="0"/>
              </a:endParaRPr>
            </a:p>
          </p:txBody>
        </p:sp>
        <p:pic>
          <p:nvPicPr>
            <p:cNvPr id="127" name="Picture 12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5760" y="1797627"/>
              <a:ext cx="502920" cy="502920"/>
            </a:xfrm>
            <a:prstGeom prst="rect">
              <a:avLst/>
            </a:prstGeom>
          </p:spPr>
        </p:pic>
      </p:grpSp>
      <p:sp>
        <p:nvSpPr>
          <p:cNvPr id="67" name="Rectangle 66">
            <a:extLst>
              <a:ext uri="{FF2B5EF4-FFF2-40B4-BE49-F238E27FC236}">
                <a16:creationId xmlns:a16="http://schemas.microsoft.com/office/drawing/2014/main" id="{822A2399-9042-4006-9344-B105A200D0EA}"/>
              </a:ext>
            </a:extLst>
          </p:cNvPr>
          <p:cNvSpPr/>
          <p:nvPr/>
        </p:nvSpPr>
        <p:spPr>
          <a:xfrm>
            <a:off x="3338077" y="3969171"/>
            <a:ext cx="773078" cy="1002216"/>
          </a:xfrm>
          <a:prstGeom prst="rect">
            <a:avLst/>
          </a:prstGeom>
          <a:solidFill>
            <a:srgbClr val="D1E9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Arial" panose="020B0604020202020204" pitchFamily="34" charset="0"/>
                <a:cs typeface="Arial" panose="020B0604020202020204" pitchFamily="34" charset="0"/>
                <a:sym typeface="Arial" panose="020B0604020202020204" pitchFamily="34" charset="0"/>
              </a:rPr>
              <a:t>Provider and Network Platform</a:t>
            </a:r>
            <a:r>
              <a:rPr lang="en-US" sz="1000" b="1" dirty="0">
                <a:solidFill>
                  <a:srgbClr val="FF0000"/>
                </a:solidFill>
                <a:latin typeface="Arial" panose="020B0604020202020204" pitchFamily="34" charset="0"/>
                <a:cs typeface="Arial" panose="020B0604020202020204" pitchFamily="34" charset="0"/>
                <a:sym typeface="Arial" panose="020B0604020202020204" pitchFamily="34" charset="0"/>
              </a:rPr>
              <a:t>*</a:t>
            </a:r>
          </a:p>
        </p:txBody>
      </p:sp>
      <p:sp>
        <p:nvSpPr>
          <p:cNvPr id="130" name="Rectangle 129">
            <a:extLst>
              <a:ext uri="{FF2B5EF4-FFF2-40B4-BE49-F238E27FC236}">
                <a16:creationId xmlns:a16="http://schemas.microsoft.com/office/drawing/2014/main" id="{092EBA91-61A0-4F8D-819D-1AE71C63F7EA}"/>
              </a:ext>
            </a:extLst>
          </p:cNvPr>
          <p:cNvSpPr/>
          <p:nvPr/>
        </p:nvSpPr>
        <p:spPr>
          <a:xfrm>
            <a:off x="4161956" y="3941833"/>
            <a:ext cx="741965" cy="312205"/>
          </a:xfrm>
          <a:prstGeom prst="rect">
            <a:avLst/>
          </a:prstGeom>
          <a:solidFill>
            <a:srgbClr val="D1E9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Arial" panose="020B0604020202020204" pitchFamily="34" charset="0"/>
                <a:cs typeface="Arial" panose="020B0604020202020204" pitchFamily="34" charset="0"/>
                <a:sym typeface="Arial" panose="020B0604020202020204" pitchFamily="34" charset="0"/>
              </a:rPr>
              <a:t>PBM</a:t>
            </a:r>
            <a:endParaRPr lang="en-US" sz="1000" i="1"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131" name="Rectangle 130">
            <a:extLst>
              <a:ext uri="{FF2B5EF4-FFF2-40B4-BE49-F238E27FC236}">
                <a16:creationId xmlns:a16="http://schemas.microsoft.com/office/drawing/2014/main" id="{5AC69CB0-F566-4675-A8BA-55CA2275B15C}"/>
              </a:ext>
            </a:extLst>
          </p:cNvPr>
          <p:cNvSpPr/>
          <p:nvPr/>
        </p:nvSpPr>
        <p:spPr>
          <a:xfrm>
            <a:off x="4161384" y="4692230"/>
            <a:ext cx="815373" cy="279158"/>
          </a:xfrm>
          <a:prstGeom prst="rect">
            <a:avLst/>
          </a:prstGeom>
          <a:solidFill>
            <a:srgbClr val="D1E9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Arial" panose="020B0604020202020204" pitchFamily="34" charset="0"/>
                <a:cs typeface="Arial" panose="020B0604020202020204" pitchFamily="34" charset="0"/>
                <a:sym typeface="Arial" panose="020B0604020202020204" pitchFamily="34" charset="0"/>
              </a:rPr>
              <a:t>Specialty</a:t>
            </a:r>
            <a:endParaRPr lang="en-US" sz="1000" i="1"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132" name="Rectangle 131">
            <a:extLst>
              <a:ext uri="{FF2B5EF4-FFF2-40B4-BE49-F238E27FC236}">
                <a16:creationId xmlns:a16="http://schemas.microsoft.com/office/drawing/2014/main" id="{CCF171DB-8C44-40FE-9E91-CE33C55B4E3E}"/>
              </a:ext>
            </a:extLst>
          </p:cNvPr>
          <p:cNvSpPr/>
          <p:nvPr/>
        </p:nvSpPr>
        <p:spPr>
          <a:xfrm>
            <a:off x="4161957" y="4327420"/>
            <a:ext cx="815373" cy="290482"/>
          </a:xfrm>
          <a:prstGeom prst="rect">
            <a:avLst/>
          </a:prstGeom>
          <a:solidFill>
            <a:srgbClr val="D1E9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Arial" panose="020B0604020202020204" pitchFamily="34" charset="0"/>
                <a:cs typeface="Arial" panose="020B0604020202020204" pitchFamily="34" charset="0"/>
                <a:sym typeface="Arial" panose="020B0604020202020204" pitchFamily="34" charset="0"/>
              </a:rPr>
              <a:t>Medical</a:t>
            </a:r>
            <a:endParaRPr lang="en-US" sz="1000" i="1"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133" name="Rectangle 132">
            <a:extLst>
              <a:ext uri="{FF2B5EF4-FFF2-40B4-BE49-F238E27FC236}">
                <a16:creationId xmlns:a16="http://schemas.microsoft.com/office/drawing/2014/main" id="{0FD961DB-9A3E-49CB-9C35-78DBA66CEAAA}"/>
              </a:ext>
            </a:extLst>
          </p:cNvPr>
          <p:cNvSpPr/>
          <p:nvPr/>
        </p:nvSpPr>
        <p:spPr>
          <a:xfrm>
            <a:off x="5024873" y="3969171"/>
            <a:ext cx="807444" cy="1002216"/>
          </a:xfrm>
          <a:prstGeom prst="rect">
            <a:avLst/>
          </a:prstGeom>
          <a:solidFill>
            <a:srgbClr val="D1E9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Arial" panose="020B0604020202020204" pitchFamily="34" charset="0"/>
                <a:cs typeface="Arial" panose="020B0604020202020204" pitchFamily="34" charset="0"/>
                <a:sym typeface="Arial" panose="020B0604020202020204" pitchFamily="34" charset="0"/>
              </a:rPr>
              <a:t>Product</a:t>
            </a:r>
          </a:p>
          <a:p>
            <a:pPr algn="ctr"/>
            <a:r>
              <a:rPr lang="en-US" sz="1000" b="1" dirty="0">
                <a:solidFill>
                  <a:schemeClr val="tx1"/>
                </a:solidFill>
                <a:latin typeface="Arial" panose="020B0604020202020204" pitchFamily="34" charset="0"/>
                <a:cs typeface="Arial" panose="020B0604020202020204" pitchFamily="34" charset="0"/>
                <a:sym typeface="Arial" panose="020B0604020202020204" pitchFamily="34" charset="0"/>
              </a:rPr>
              <a:t>&amp; </a:t>
            </a:r>
          </a:p>
          <a:p>
            <a:pPr algn="ctr"/>
            <a:r>
              <a:rPr lang="en-US" sz="1000" b="1" dirty="0">
                <a:solidFill>
                  <a:schemeClr val="tx1"/>
                </a:solidFill>
                <a:latin typeface="Arial" panose="020B0604020202020204" pitchFamily="34" charset="0"/>
                <a:cs typeface="Arial" panose="020B0604020202020204" pitchFamily="34" charset="0"/>
                <a:sym typeface="Arial" panose="020B0604020202020204" pitchFamily="34" charset="0"/>
              </a:rPr>
              <a:t>Pricing</a:t>
            </a:r>
          </a:p>
          <a:p>
            <a:pPr algn="ctr"/>
            <a:r>
              <a:rPr lang="en-US" sz="1000" b="1" dirty="0">
                <a:solidFill>
                  <a:schemeClr val="tx1"/>
                </a:solidFill>
                <a:latin typeface="Arial" panose="020B0604020202020204" pitchFamily="34" charset="0"/>
                <a:cs typeface="Arial" panose="020B0604020202020204" pitchFamily="34" charset="0"/>
                <a:sym typeface="Arial" panose="020B0604020202020204" pitchFamily="34" charset="0"/>
              </a:rPr>
              <a:t>&amp;</a:t>
            </a:r>
          </a:p>
          <a:p>
            <a:pPr algn="ctr"/>
            <a:r>
              <a:rPr lang="en-US" sz="1000" b="1" dirty="0">
                <a:solidFill>
                  <a:schemeClr val="tx1"/>
                </a:solidFill>
                <a:latin typeface="Arial" panose="020B0604020202020204" pitchFamily="34" charset="0"/>
                <a:cs typeface="Arial" panose="020B0604020202020204" pitchFamily="34" charset="0"/>
                <a:sym typeface="Arial" panose="020B0604020202020204" pitchFamily="34" charset="0"/>
              </a:rPr>
              <a:t>Claims</a:t>
            </a:r>
          </a:p>
          <a:p>
            <a:pPr algn="ctr"/>
            <a:r>
              <a:rPr lang="en-US" sz="1000" b="1" dirty="0">
                <a:solidFill>
                  <a:schemeClr val="tx1"/>
                </a:solidFill>
                <a:latin typeface="Arial" panose="020B0604020202020204" pitchFamily="34" charset="0"/>
                <a:cs typeface="Arial" panose="020B0604020202020204" pitchFamily="34" charset="0"/>
                <a:sym typeface="Arial" panose="020B0604020202020204" pitchFamily="34" charset="0"/>
              </a:rPr>
              <a:t>&amp; Actuarial</a:t>
            </a:r>
            <a:r>
              <a:rPr lang="en-US" sz="1000" b="1" dirty="0">
                <a:solidFill>
                  <a:srgbClr val="FF0000"/>
                </a:solidFill>
                <a:latin typeface="Arial" panose="020B0604020202020204" pitchFamily="34" charset="0"/>
                <a:cs typeface="Arial" panose="020B0604020202020204" pitchFamily="34" charset="0"/>
                <a:sym typeface="Arial" panose="020B0604020202020204" pitchFamily="34" charset="0"/>
              </a:rPr>
              <a:t>*</a:t>
            </a:r>
          </a:p>
        </p:txBody>
      </p:sp>
      <p:sp>
        <p:nvSpPr>
          <p:cNvPr id="138" name="Oval 137">
            <a:extLst>
              <a:ext uri="{FF2B5EF4-FFF2-40B4-BE49-F238E27FC236}">
                <a16:creationId xmlns:a16="http://schemas.microsoft.com/office/drawing/2014/main" id="{9DDF2769-6CDA-470B-AD2D-78161289A5F9}"/>
              </a:ext>
            </a:extLst>
          </p:cNvPr>
          <p:cNvSpPr/>
          <p:nvPr/>
        </p:nvSpPr>
        <p:spPr>
          <a:xfrm>
            <a:off x="286426" y="5540356"/>
            <a:ext cx="320040" cy="320040"/>
          </a:xfrm>
          <a:prstGeom prst="ellipse">
            <a:avLst/>
          </a:prstGeom>
          <a:solidFill>
            <a:schemeClr val="tx1">
              <a:lumMod val="50000"/>
              <a:lumOff val="5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Arial" panose="020B0604020202020204" pitchFamily="34" charset="0"/>
                <a:cs typeface="Arial" panose="020B0604020202020204" pitchFamily="34" charset="0"/>
                <a:sym typeface="Arial" panose="020B0604020202020204" pitchFamily="34" charset="0"/>
              </a:rPr>
              <a:t>8</a:t>
            </a:r>
          </a:p>
        </p:txBody>
      </p:sp>
      <p:sp>
        <p:nvSpPr>
          <p:cNvPr id="141" name="Oval 140">
            <a:extLst>
              <a:ext uri="{FF2B5EF4-FFF2-40B4-BE49-F238E27FC236}">
                <a16:creationId xmlns:a16="http://schemas.microsoft.com/office/drawing/2014/main" id="{2D3EC71D-0B02-4A57-A3CD-14A7D6415ECC}"/>
              </a:ext>
            </a:extLst>
          </p:cNvPr>
          <p:cNvSpPr/>
          <p:nvPr/>
        </p:nvSpPr>
        <p:spPr>
          <a:xfrm>
            <a:off x="3990409" y="4292604"/>
            <a:ext cx="320040" cy="320040"/>
          </a:xfrm>
          <a:prstGeom prst="ellipse">
            <a:avLst/>
          </a:prstGeom>
          <a:solidFill>
            <a:schemeClr val="tx1">
              <a:lumMod val="50000"/>
              <a:lumOff val="5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Arial" panose="020B0604020202020204" pitchFamily="34" charset="0"/>
                <a:cs typeface="Arial" panose="020B0604020202020204" pitchFamily="34" charset="0"/>
                <a:sym typeface="Arial" panose="020B0604020202020204" pitchFamily="34" charset="0"/>
              </a:rPr>
              <a:t>4</a:t>
            </a:r>
          </a:p>
        </p:txBody>
      </p:sp>
      <p:sp>
        <p:nvSpPr>
          <p:cNvPr id="142" name="Oval 141">
            <a:extLst>
              <a:ext uri="{FF2B5EF4-FFF2-40B4-BE49-F238E27FC236}">
                <a16:creationId xmlns:a16="http://schemas.microsoft.com/office/drawing/2014/main" id="{6847EE1B-7A1C-4975-AF30-2C4BE27D3998}"/>
              </a:ext>
            </a:extLst>
          </p:cNvPr>
          <p:cNvSpPr/>
          <p:nvPr/>
        </p:nvSpPr>
        <p:spPr>
          <a:xfrm>
            <a:off x="3203190" y="3889585"/>
            <a:ext cx="320040" cy="320040"/>
          </a:xfrm>
          <a:prstGeom prst="ellipse">
            <a:avLst/>
          </a:prstGeom>
          <a:solidFill>
            <a:schemeClr val="tx1">
              <a:lumMod val="50000"/>
              <a:lumOff val="5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Arial" panose="020B0604020202020204" pitchFamily="34" charset="0"/>
                <a:cs typeface="Arial" panose="020B0604020202020204" pitchFamily="34" charset="0"/>
                <a:sym typeface="Arial" panose="020B0604020202020204" pitchFamily="34" charset="0"/>
              </a:rPr>
              <a:t>3</a:t>
            </a:r>
          </a:p>
        </p:txBody>
      </p:sp>
      <p:grpSp>
        <p:nvGrpSpPr>
          <p:cNvPr id="6" name="Group 5">
            <a:extLst>
              <a:ext uri="{FF2B5EF4-FFF2-40B4-BE49-F238E27FC236}">
                <a16:creationId xmlns:a16="http://schemas.microsoft.com/office/drawing/2014/main" id="{A2833BC5-A0E4-4FDD-9E4D-FB354936C423}"/>
              </a:ext>
            </a:extLst>
          </p:cNvPr>
          <p:cNvGrpSpPr/>
          <p:nvPr/>
        </p:nvGrpSpPr>
        <p:grpSpPr>
          <a:xfrm>
            <a:off x="7930654" y="3696842"/>
            <a:ext cx="1828800" cy="1367084"/>
            <a:chOff x="9825318" y="3718892"/>
            <a:chExt cx="1828800" cy="1367084"/>
          </a:xfrm>
        </p:grpSpPr>
        <p:sp>
          <p:nvSpPr>
            <p:cNvPr id="76" name="Rectangle: Rounded Corners 43">
              <a:extLst>
                <a:ext uri="{FF2B5EF4-FFF2-40B4-BE49-F238E27FC236}">
                  <a16:creationId xmlns:a16="http://schemas.microsoft.com/office/drawing/2014/main" id="{4027B224-7326-4618-9EE1-63AD63263596}"/>
                </a:ext>
              </a:extLst>
            </p:cNvPr>
            <p:cNvSpPr/>
            <p:nvPr/>
          </p:nvSpPr>
          <p:spPr>
            <a:xfrm>
              <a:off x="9825318" y="3718892"/>
              <a:ext cx="1828800" cy="1367084"/>
            </a:xfrm>
            <a:prstGeom prst="roundRect">
              <a:avLst/>
            </a:prstGeom>
            <a:noFill/>
            <a:ln>
              <a:solidFill>
                <a:srgbClr val="487C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sym typeface="Arial" panose="020B0604020202020204" pitchFamily="34" charset="0"/>
              </a:endParaRPr>
            </a:p>
          </p:txBody>
        </p:sp>
        <p:sp>
          <p:nvSpPr>
            <p:cNvPr id="80" name="Rectangle 79">
              <a:extLst>
                <a:ext uri="{FF2B5EF4-FFF2-40B4-BE49-F238E27FC236}">
                  <a16:creationId xmlns:a16="http://schemas.microsoft.com/office/drawing/2014/main" id="{02471273-ACC6-4143-A37A-0B4F2C4EE023}"/>
                </a:ext>
              </a:extLst>
            </p:cNvPr>
            <p:cNvSpPr/>
            <p:nvPr/>
          </p:nvSpPr>
          <p:spPr>
            <a:xfrm>
              <a:off x="10032788" y="3948592"/>
              <a:ext cx="1413860" cy="372032"/>
            </a:xfrm>
            <a:prstGeom prst="rect">
              <a:avLst/>
            </a:prstGeom>
            <a:solidFill>
              <a:srgbClr val="D1E9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Arial" panose="020B0604020202020204" pitchFamily="34" charset="0"/>
                  <a:cs typeface="Arial" panose="020B0604020202020204" pitchFamily="34" charset="0"/>
                  <a:sym typeface="Arial" panose="020B0604020202020204" pitchFamily="34" charset="0"/>
                </a:rPr>
                <a:t>Clinical &amp; Logistics Platform</a:t>
              </a:r>
              <a:r>
                <a:rPr lang="en-US" sz="1000" b="1" dirty="0">
                  <a:solidFill>
                    <a:srgbClr val="FF0000"/>
                  </a:solidFill>
                  <a:latin typeface="Arial" panose="020B0604020202020204" pitchFamily="34" charset="0"/>
                  <a:cs typeface="Arial" panose="020B0604020202020204" pitchFamily="34" charset="0"/>
                  <a:sym typeface="Arial" panose="020B0604020202020204" pitchFamily="34" charset="0"/>
                </a:rPr>
                <a:t>*</a:t>
              </a:r>
            </a:p>
          </p:txBody>
        </p:sp>
        <p:sp>
          <p:nvSpPr>
            <p:cNvPr id="84" name="Rectangle: Rounded Corners 51">
              <a:extLst>
                <a:ext uri="{FF2B5EF4-FFF2-40B4-BE49-F238E27FC236}">
                  <a16:creationId xmlns:a16="http://schemas.microsoft.com/office/drawing/2014/main" id="{65B21E3D-8C00-4D8E-BD70-D7D40ED1D31A}"/>
                </a:ext>
              </a:extLst>
            </p:cNvPr>
            <p:cNvSpPr/>
            <p:nvPr/>
          </p:nvSpPr>
          <p:spPr>
            <a:xfrm>
              <a:off x="10231013" y="3758613"/>
              <a:ext cx="962515" cy="162998"/>
            </a:xfrm>
            <a:prstGeom prst="roundRect">
              <a:avLst/>
            </a:prstGeom>
            <a:solidFill>
              <a:srgbClr val="0085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latin typeface="Arial" panose="020B0604020202020204" pitchFamily="34" charset="0"/>
                  <a:cs typeface="Arial" panose="020B0604020202020204" pitchFamily="34" charset="0"/>
                  <a:sym typeface="Arial" panose="020B0604020202020204" pitchFamily="34" charset="0"/>
                </a:rPr>
                <a:t>Care Model</a:t>
              </a:r>
            </a:p>
          </p:txBody>
        </p:sp>
        <p:sp>
          <p:nvSpPr>
            <p:cNvPr id="119" name="Oval 118">
              <a:extLst>
                <a:ext uri="{FF2B5EF4-FFF2-40B4-BE49-F238E27FC236}">
                  <a16:creationId xmlns:a16="http://schemas.microsoft.com/office/drawing/2014/main" id="{680A7230-046C-44C7-ACA1-A02561AAF230}"/>
                </a:ext>
              </a:extLst>
            </p:cNvPr>
            <p:cNvSpPr/>
            <p:nvPr/>
          </p:nvSpPr>
          <p:spPr>
            <a:xfrm>
              <a:off x="9878062" y="3791659"/>
              <a:ext cx="320040" cy="320040"/>
            </a:xfrm>
            <a:prstGeom prst="ellipse">
              <a:avLst/>
            </a:prstGeom>
            <a:solidFill>
              <a:schemeClr val="tx1">
                <a:lumMod val="50000"/>
                <a:lumOff val="5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Arial" panose="020B0604020202020204" pitchFamily="34" charset="0"/>
                  <a:cs typeface="Arial" panose="020B0604020202020204" pitchFamily="34" charset="0"/>
                  <a:sym typeface="Arial" panose="020B0604020202020204" pitchFamily="34" charset="0"/>
                </a:rPr>
                <a:t>7</a:t>
              </a:r>
            </a:p>
          </p:txBody>
        </p:sp>
        <p:sp>
          <p:nvSpPr>
            <p:cNvPr id="144" name="Rectangle 143">
              <a:extLst>
                <a:ext uri="{FF2B5EF4-FFF2-40B4-BE49-F238E27FC236}">
                  <a16:creationId xmlns:a16="http://schemas.microsoft.com/office/drawing/2014/main" id="{2BD31A58-9815-4B14-A4FF-C3DACCF5448B}"/>
                </a:ext>
              </a:extLst>
            </p:cNvPr>
            <p:cNvSpPr/>
            <p:nvPr/>
          </p:nvSpPr>
          <p:spPr>
            <a:xfrm>
              <a:off x="10001320" y="4674311"/>
              <a:ext cx="1413860" cy="365341"/>
            </a:xfrm>
            <a:prstGeom prst="rect">
              <a:avLst/>
            </a:prstGeom>
            <a:solidFill>
              <a:srgbClr val="D1E9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Arial" panose="020B0604020202020204" pitchFamily="34" charset="0"/>
                  <a:cs typeface="Arial" panose="020B0604020202020204" pitchFamily="34" charset="0"/>
                  <a:sym typeface="Arial" panose="020B0604020202020204" pitchFamily="34" charset="0"/>
                </a:rPr>
                <a:t>Retail Pharmacy Platform</a:t>
              </a:r>
            </a:p>
          </p:txBody>
        </p:sp>
      </p:grpSp>
      <p:sp>
        <p:nvSpPr>
          <p:cNvPr id="145" name="Rectangle: Rounded Corners 148">
            <a:extLst>
              <a:ext uri="{FF2B5EF4-FFF2-40B4-BE49-F238E27FC236}">
                <a16:creationId xmlns:a16="http://schemas.microsoft.com/office/drawing/2014/main" id="{29CFACA0-6DF3-4730-BA55-2B51F820D5A1}"/>
              </a:ext>
            </a:extLst>
          </p:cNvPr>
          <p:cNvSpPr/>
          <p:nvPr/>
        </p:nvSpPr>
        <p:spPr>
          <a:xfrm>
            <a:off x="2810993" y="6282137"/>
            <a:ext cx="4305591" cy="41299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dirty="0">
                <a:solidFill>
                  <a:srgbClr val="FF0000"/>
                </a:solidFill>
                <a:latin typeface="Arial" panose="020B0604020202020204" pitchFamily="34" charset="0"/>
                <a:cs typeface="Arial" panose="020B0604020202020204" pitchFamily="34" charset="0"/>
                <a:sym typeface="Arial" panose="020B0604020202020204" pitchFamily="34" charset="0"/>
              </a:rPr>
              <a:t>*</a:t>
            </a:r>
            <a:r>
              <a:rPr lang="en-US" sz="900" b="1" dirty="0">
                <a:solidFill>
                  <a:schemeClr val="tx2">
                    <a:lumMod val="60000"/>
                    <a:lumOff val="40000"/>
                  </a:schemeClr>
                </a:solidFill>
                <a:latin typeface="Arial" panose="020B0604020202020204" pitchFamily="34" charset="0"/>
                <a:cs typeface="Arial" panose="020B0604020202020204" pitchFamily="34" charset="0"/>
                <a:sym typeface="Arial" panose="020B0604020202020204" pitchFamily="34" charset="0"/>
              </a:rPr>
              <a:t> = Major joint transformation opportunity</a:t>
            </a:r>
          </a:p>
        </p:txBody>
      </p:sp>
      <p:grpSp>
        <p:nvGrpSpPr>
          <p:cNvPr id="8" name="Group 7">
            <a:extLst>
              <a:ext uri="{FF2B5EF4-FFF2-40B4-BE49-F238E27FC236}">
                <a16:creationId xmlns:a16="http://schemas.microsoft.com/office/drawing/2014/main" id="{D80E1AC6-6654-4CF1-8CC1-2681C3C9315A}"/>
              </a:ext>
            </a:extLst>
          </p:cNvPr>
          <p:cNvGrpSpPr/>
          <p:nvPr/>
        </p:nvGrpSpPr>
        <p:grpSpPr>
          <a:xfrm>
            <a:off x="9875836" y="3696842"/>
            <a:ext cx="1828800" cy="1367084"/>
            <a:chOff x="9875836" y="3696842"/>
            <a:chExt cx="1828800" cy="1367084"/>
          </a:xfrm>
        </p:grpSpPr>
        <p:sp>
          <p:nvSpPr>
            <p:cNvPr id="143" name="Rectangle 142">
              <a:extLst>
                <a:ext uri="{FF2B5EF4-FFF2-40B4-BE49-F238E27FC236}">
                  <a16:creationId xmlns:a16="http://schemas.microsoft.com/office/drawing/2014/main" id="{AD6B072C-CF6C-48FD-B98D-F6D0EDFCF89F}"/>
                </a:ext>
              </a:extLst>
            </p:cNvPr>
            <p:cNvSpPr/>
            <p:nvPr/>
          </p:nvSpPr>
          <p:spPr>
            <a:xfrm>
              <a:off x="10155403" y="4008802"/>
              <a:ext cx="1213319" cy="358065"/>
            </a:xfrm>
            <a:prstGeom prst="rect">
              <a:avLst/>
            </a:prstGeom>
            <a:solidFill>
              <a:srgbClr val="D1E9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Arial" panose="020B0604020202020204" pitchFamily="34" charset="0"/>
                  <a:cs typeface="Arial" panose="020B0604020202020204" pitchFamily="34" charset="0"/>
                  <a:sym typeface="Arial" panose="020B0604020202020204" pitchFamily="34" charset="0"/>
                </a:rPr>
                <a:t>Point-of-Sale Platform</a:t>
              </a:r>
            </a:p>
          </p:txBody>
        </p:sp>
        <p:sp>
          <p:nvSpPr>
            <p:cNvPr id="87" name="Rectangle: Rounded Corners 42">
              <a:extLst>
                <a:ext uri="{FF2B5EF4-FFF2-40B4-BE49-F238E27FC236}">
                  <a16:creationId xmlns:a16="http://schemas.microsoft.com/office/drawing/2014/main" id="{463BB8D6-74C9-445B-8FFA-011DD05860B3}"/>
                </a:ext>
              </a:extLst>
            </p:cNvPr>
            <p:cNvSpPr/>
            <p:nvPr/>
          </p:nvSpPr>
          <p:spPr>
            <a:xfrm>
              <a:off x="9875836" y="3696842"/>
              <a:ext cx="1828800" cy="1367084"/>
            </a:xfrm>
            <a:prstGeom prst="roundRect">
              <a:avLst/>
            </a:prstGeom>
            <a:noFill/>
            <a:ln>
              <a:solidFill>
                <a:srgbClr val="487C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sym typeface="Arial" panose="020B0604020202020204" pitchFamily="34" charset="0"/>
              </a:endParaRPr>
            </a:p>
          </p:txBody>
        </p:sp>
        <p:sp>
          <p:nvSpPr>
            <p:cNvPr id="88" name="Rectangle: Rounded Corners 50">
              <a:extLst>
                <a:ext uri="{FF2B5EF4-FFF2-40B4-BE49-F238E27FC236}">
                  <a16:creationId xmlns:a16="http://schemas.microsoft.com/office/drawing/2014/main" id="{AA7E3CF9-DF3C-498E-BC24-BC6D2DBF2C82}"/>
                </a:ext>
              </a:extLst>
            </p:cNvPr>
            <p:cNvSpPr/>
            <p:nvPr/>
          </p:nvSpPr>
          <p:spPr>
            <a:xfrm>
              <a:off x="10169836" y="3754592"/>
              <a:ext cx="1193707" cy="187241"/>
            </a:xfrm>
            <a:prstGeom prst="roundRect">
              <a:avLst/>
            </a:prstGeom>
            <a:solidFill>
              <a:srgbClr val="0085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latin typeface="Arial" panose="020B0604020202020204" pitchFamily="34" charset="0"/>
                  <a:cs typeface="Arial" panose="020B0604020202020204" pitchFamily="34" charset="0"/>
                  <a:sym typeface="Arial" panose="020B0604020202020204" pitchFamily="34" charset="0"/>
                </a:rPr>
                <a:t>Retail Model</a:t>
              </a:r>
            </a:p>
          </p:txBody>
        </p:sp>
        <p:sp>
          <p:nvSpPr>
            <p:cNvPr id="89" name="Rectangle 88">
              <a:extLst>
                <a:ext uri="{FF2B5EF4-FFF2-40B4-BE49-F238E27FC236}">
                  <a16:creationId xmlns:a16="http://schemas.microsoft.com/office/drawing/2014/main" id="{2BE1D85D-B97D-4CCF-BF57-58B2429BA0A4}"/>
                </a:ext>
              </a:extLst>
            </p:cNvPr>
            <p:cNvSpPr/>
            <p:nvPr/>
          </p:nvSpPr>
          <p:spPr>
            <a:xfrm>
              <a:off x="10155403" y="4544037"/>
              <a:ext cx="1213319" cy="358065"/>
            </a:xfrm>
            <a:prstGeom prst="rect">
              <a:avLst/>
            </a:prstGeom>
            <a:solidFill>
              <a:srgbClr val="D1E9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Arial" panose="020B0604020202020204" pitchFamily="34" charset="0"/>
                  <a:cs typeface="Arial" panose="020B0604020202020204" pitchFamily="34" charset="0"/>
                  <a:sym typeface="Arial" panose="020B0604020202020204" pitchFamily="34" charset="0"/>
                </a:rPr>
                <a:t>Supply Chain Management</a:t>
              </a:r>
            </a:p>
          </p:txBody>
        </p:sp>
      </p:grpSp>
      <p:sp>
        <p:nvSpPr>
          <p:cNvPr id="90" name="Rectangle 89">
            <a:extLst>
              <a:ext uri="{FF2B5EF4-FFF2-40B4-BE49-F238E27FC236}">
                <a16:creationId xmlns:a16="http://schemas.microsoft.com/office/drawing/2014/main" id="{2075DBDC-AB3E-4BA8-B279-9D2A816A37A3}"/>
              </a:ext>
            </a:extLst>
          </p:cNvPr>
          <p:cNvSpPr/>
          <p:nvPr/>
        </p:nvSpPr>
        <p:spPr>
          <a:xfrm>
            <a:off x="6194468" y="4551273"/>
            <a:ext cx="1400272" cy="358072"/>
          </a:xfrm>
          <a:prstGeom prst="rect">
            <a:avLst/>
          </a:prstGeom>
          <a:solidFill>
            <a:srgbClr val="D1E9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Arial" panose="020B0604020202020204" pitchFamily="34" charset="0"/>
                <a:cs typeface="Arial" panose="020B0604020202020204" pitchFamily="34" charset="0"/>
                <a:sym typeface="Arial" panose="020B0604020202020204" pitchFamily="34" charset="0"/>
              </a:rPr>
              <a:t>Call Center Platform</a:t>
            </a:r>
            <a:r>
              <a:rPr lang="en-US" sz="1000" b="1" dirty="0">
                <a:solidFill>
                  <a:srgbClr val="FF0000"/>
                </a:solidFill>
                <a:latin typeface="Arial" panose="020B0604020202020204" pitchFamily="34" charset="0"/>
                <a:cs typeface="Arial" panose="020B0604020202020204" pitchFamily="34" charset="0"/>
                <a:sym typeface="Arial" panose="020B0604020202020204" pitchFamily="34" charset="0"/>
              </a:rPr>
              <a:t>*</a:t>
            </a:r>
            <a:endParaRPr lang="en-US" sz="1000" b="1"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4" name="Oval 93">
            <a:extLst>
              <a:ext uri="{FF2B5EF4-FFF2-40B4-BE49-F238E27FC236}">
                <a16:creationId xmlns:a16="http://schemas.microsoft.com/office/drawing/2014/main" id="{EBF8ACE1-B47B-4498-9322-38D891CEB5AD}"/>
              </a:ext>
            </a:extLst>
          </p:cNvPr>
          <p:cNvSpPr/>
          <p:nvPr/>
        </p:nvSpPr>
        <p:spPr>
          <a:xfrm>
            <a:off x="7403915" y="4571433"/>
            <a:ext cx="320040" cy="320040"/>
          </a:xfrm>
          <a:prstGeom prst="ellipse">
            <a:avLst/>
          </a:prstGeom>
          <a:solidFill>
            <a:schemeClr val="tx1">
              <a:lumMod val="50000"/>
              <a:lumOff val="5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Arial" panose="020B0604020202020204" pitchFamily="34" charset="0"/>
                <a:cs typeface="Arial" panose="020B0604020202020204" pitchFamily="34" charset="0"/>
                <a:sym typeface="Arial" panose="020B0604020202020204" pitchFamily="34" charset="0"/>
              </a:rPr>
              <a:t>6</a:t>
            </a:r>
          </a:p>
        </p:txBody>
      </p:sp>
      <p:sp>
        <p:nvSpPr>
          <p:cNvPr id="113" name="Rectangle 112">
            <a:extLst>
              <a:ext uri="{FF2B5EF4-FFF2-40B4-BE49-F238E27FC236}">
                <a16:creationId xmlns:a16="http://schemas.microsoft.com/office/drawing/2014/main" id="{37667AC6-20AA-41DF-995B-881E80C7A6A7}"/>
              </a:ext>
            </a:extLst>
          </p:cNvPr>
          <p:cNvSpPr/>
          <p:nvPr/>
        </p:nvSpPr>
        <p:spPr>
          <a:xfrm>
            <a:off x="8131507" y="4336622"/>
            <a:ext cx="1437016" cy="276022"/>
          </a:xfrm>
          <a:prstGeom prst="rect">
            <a:avLst/>
          </a:prstGeom>
          <a:solidFill>
            <a:srgbClr val="D1E9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Arial" panose="020B0604020202020204" pitchFamily="34" charset="0"/>
                <a:cs typeface="Arial" panose="020B0604020202020204" pitchFamily="34" charset="0"/>
                <a:sym typeface="Arial" panose="020B0604020202020204" pitchFamily="34" charset="0"/>
              </a:rPr>
              <a:t>Prior Authorization Platform</a:t>
            </a:r>
          </a:p>
        </p:txBody>
      </p:sp>
      <p:sp>
        <p:nvSpPr>
          <p:cNvPr id="116" name="Oval 115">
            <a:extLst>
              <a:ext uri="{FF2B5EF4-FFF2-40B4-BE49-F238E27FC236}">
                <a16:creationId xmlns:a16="http://schemas.microsoft.com/office/drawing/2014/main" id="{9B1BA94A-B8DD-4B49-A530-BB8859AD9D8C}"/>
              </a:ext>
            </a:extLst>
          </p:cNvPr>
          <p:cNvSpPr/>
          <p:nvPr/>
        </p:nvSpPr>
        <p:spPr>
          <a:xfrm>
            <a:off x="9420359" y="4327636"/>
            <a:ext cx="320040" cy="320040"/>
          </a:xfrm>
          <a:prstGeom prst="ellipse">
            <a:avLst/>
          </a:prstGeom>
          <a:solidFill>
            <a:schemeClr val="tx1">
              <a:lumMod val="50000"/>
              <a:lumOff val="5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Arial" panose="020B0604020202020204" pitchFamily="34" charset="0"/>
                <a:cs typeface="Arial" panose="020B0604020202020204" pitchFamily="34" charset="0"/>
                <a:sym typeface="Arial" panose="020B0604020202020204" pitchFamily="34" charset="0"/>
              </a:rPr>
              <a:t>8</a:t>
            </a:r>
          </a:p>
        </p:txBody>
      </p:sp>
      <p:sp>
        <p:nvSpPr>
          <p:cNvPr id="117" name="Oval 116">
            <a:extLst>
              <a:ext uri="{FF2B5EF4-FFF2-40B4-BE49-F238E27FC236}">
                <a16:creationId xmlns:a16="http://schemas.microsoft.com/office/drawing/2014/main" id="{43E4E3EA-103C-45BD-9EB8-883D534F67B2}"/>
              </a:ext>
            </a:extLst>
          </p:cNvPr>
          <p:cNvSpPr/>
          <p:nvPr/>
        </p:nvSpPr>
        <p:spPr>
          <a:xfrm>
            <a:off x="297180" y="6315464"/>
            <a:ext cx="320040" cy="320040"/>
          </a:xfrm>
          <a:prstGeom prst="ellipse">
            <a:avLst/>
          </a:prstGeom>
          <a:solidFill>
            <a:schemeClr val="tx1">
              <a:lumMod val="50000"/>
              <a:lumOff val="5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Arial" panose="020B0604020202020204" pitchFamily="34" charset="0"/>
                <a:cs typeface="Arial" panose="020B0604020202020204" pitchFamily="34" charset="0"/>
                <a:sym typeface="Arial" panose="020B0604020202020204" pitchFamily="34" charset="0"/>
              </a:rPr>
              <a:t>10</a:t>
            </a:r>
          </a:p>
        </p:txBody>
      </p:sp>
      <p:sp>
        <p:nvSpPr>
          <p:cNvPr id="118" name="Oval 117">
            <a:extLst>
              <a:ext uri="{FF2B5EF4-FFF2-40B4-BE49-F238E27FC236}">
                <a16:creationId xmlns:a16="http://schemas.microsoft.com/office/drawing/2014/main" id="{FBB2E6E3-1D73-4D58-A8BC-C4F41BC66449}"/>
              </a:ext>
            </a:extLst>
          </p:cNvPr>
          <p:cNvSpPr/>
          <p:nvPr/>
        </p:nvSpPr>
        <p:spPr>
          <a:xfrm>
            <a:off x="9399901" y="3715551"/>
            <a:ext cx="320040" cy="320040"/>
          </a:xfrm>
          <a:prstGeom prst="ellipse">
            <a:avLst/>
          </a:prstGeom>
          <a:solidFill>
            <a:schemeClr val="tx1">
              <a:lumMod val="50000"/>
              <a:lumOff val="5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Arial" panose="020B0604020202020204" pitchFamily="34" charset="0"/>
                <a:cs typeface="Arial" panose="020B0604020202020204" pitchFamily="34" charset="0"/>
                <a:sym typeface="Arial" panose="020B0604020202020204" pitchFamily="34" charset="0"/>
              </a:rPr>
              <a:t>9</a:t>
            </a:r>
          </a:p>
        </p:txBody>
      </p:sp>
      <p:sp>
        <p:nvSpPr>
          <p:cNvPr id="5" name="Oval 4">
            <a:extLst>
              <a:ext uri="{FF2B5EF4-FFF2-40B4-BE49-F238E27FC236}">
                <a16:creationId xmlns:a16="http://schemas.microsoft.com/office/drawing/2014/main" id="{EB058A25-2AED-48E8-B734-768F9741FFBE}"/>
              </a:ext>
            </a:extLst>
          </p:cNvPr>
          <p:cNvSpPr/>
          <p:nvPr/>
        </p:nvSpPr>
        <p:spPr>
          <a:xfrm>
            <a:off x="4180983" y="4268855"/>
            <a:ext cx="735721" cy="35857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cs typeface="Open Sans Bold"/>
            </a:endParaRPr>
          </a:p>
        </p:txBody>
      </p:sp>
      <p:sp>
        <p:nvSpPr>
          <p:cNvPr id="9" name="TextBox 8">
            <a:extLst>
              <a:ext uri="{FF2B5EF4-FFF2-40B4-BE49-F238E27FC236}">
                <a16:creationId xmlns:a16="http://schemas.microsoft.com/office/drawing/2014/main" id="{28538C5B-307C-43E1-91D6-AA555BE079D6}"/>
              </a:ext>
            </a:extLst>
          </p:cNvPr>
          <p:cNvSpPr txBox="1"/>
          <p:nvPr/>
        </p:nvSpPr>
        <p:spPr>
          <a:xfrm>
            <a:off x="9475507" y="1730633"/>
            <a:ext cx="1340629" cy="186152"/>
          </a:xfrm>
          <a:prstGeom prst="rect">
            <a:avLst/>
          </a:prstGeom>
          <a:noFill/>
        </p:spPr>
        <p:txBody>
          <a:bodyPr wrap="none" lIns="0" tIns="0" rIns="0" bIns="0" rtlCol="0">
            <a:noAutofit/>
          </a:bodyPr>
          <a:lstStyle/>
          <a:p>
            <a:pPr defTabSz="456758" fontAlgn="base">
              <a:spcBef>
                <a:spcPts val="1200"/>
              </a:spcBef>
            </a:pPr>
            <a:r>
              <a:rPr lang="en-US" sz="1200" dirty="0">
                <a:solidFill>
                  <a:schemeClr val="tx2"/>
                </a:solidFill>
                <a:cs typeface="Open Sans Light"/>
              </a:rPr>
              <a:t>Clinical Impacts</a:t>
            </a:r>
          </a:p>
        </p:txBody>
      </p:sp>
      <p:sp>
        <p:nvSpPr>
          <p:cNvPr id="134" name="Oval 133">
            <a:extLst>
              <a:ext uri="{FF2B5EF4-FFF2-40B4-BE49-F238E27FC236}">
                <a16:creationId xmlns:a16="http://schemas.microsoft.com/office/drawing/2014/main" id="{A7A3B450-2478-462D-AD17-ECADE93CCEB2}"/>
              </a:ext>
            </a:extLst>
          </p:cNvPr>
          <p:cNvSpPr/>
          <p:nvPr/>
        </p:nvSpPr>
        <p:spPr>
          <a:xfrm>
            <a:off x="3597645" y="2578295"/>
            <a:ext cx="2304002" cy="559893"/>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cs typeface="Open Sans Bold"/>
            </a:endParaRPr>
          </a:p>
        </p:txBody>
      </p:sp>
      <p:sp>
        <p:nvSpPr>
          <p:cNvPr id="135" name="Oval 134">
            <a:extLst>
              <a:ext uri="{FF2B5EF4-FFF2-40B4-BE49-F238E27FC236}">
                <a16:creationId xmlns:a16="http://schemas.microsoft.com/office/drawing/2014/main" id="{BB056B61-14EA-4EC3-8C83-C98CA937C108}"/>
              </a:ext>
            </a:extLst>
          </p:cNvPr>
          <p:cNvSpPr/>
          <p:nvPr/>
        </p:nvSpPr>
        <p:spPr>
          <a:xfrm>
            <a:off x="3095251" y="3765166"/>
            <a:ext cx="1047078" cy="1201969"/>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cs typeface="Open Sans Bold"/>
            </a:endParaRPr>
          </a:p>
        </p:txBody>
      </p:sp>
      <p:sp>
        <p:nvSpPr>
          <p:cNvPr id="136" name="Oval 135">
            <a:extLst>
              <a:ext uri="{FF2B5EF4-FFF2-40B4-BE49-F238E27FC236}">
                <a16:creationId xmlns:a16="http://schemas.microsoft.com/office/drawing/2014/main" id="{8D9BB30A-A8B4-44A4-9BA4-87FB94340C9A}"/>
              </a:ext>
            </a:extLst>
          </p:cNvPr>
          <p:cNvSpPr/>
          <p:nvPr/>
        </p:nvSpPr>
        <p:spPr>
          <a:xfrm>
            <a:off x="10516854" y="2736185"/>
            <a:ext cx="743989" cy="31266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cs typeface="Open Sans Bold"/>
            </a:endParaRPr>
          </a:p>
        </p:txBody>
      </p:sp>
      <p:sp>
        <p:nvSpPr>
          <p:cNvPr id="140" name="Oval 139">
            <a:extLst>
              <a:ext uri="{FF2B5EF4-FFF2-40B4-BE49-F238E27FC236}">
                <a16:creationId xmlns:a16="http://schemas.microsoft.com/office/drawing/2014/main" id="{C9DE3B8E-C480-43D1-A333-9693706E6F7F}"/>
              </a:ext>
            </a:extLst>
          </p:cNvPr>
          <p:cNvSpPr/>
          <p:nvPr/>
        </p:nvSpPr>
        <p:spPr>
          <a:xfrm>
            <a:off x="8025425" y="3464148"/>
            <a:ext cx="1694516" cy="1756109"/>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cs typeface="Open Sans Bold"/>
            </a:endParaRPr>
          </a:p>
        </p:txBody>
      </p:sp>
      <p:sp>
        <p:nvSpPr>
          <p:cNvPr id="146" name="Oval 145">
            <a:extLst>
              <a:ext uri="{FF2B5EF4-FFF2-40B4-BE49-F238E27FC236}">
                <a16:creationId xmlns:a16="http://schemas.microsoft.com/office/drawing/2014/main" id="{379AFB46-D937-4EBF-B52D-F9C2FDF29043}"/>
              </a:ext>
            </a:extLst>
          </p:cNvPr>
          <p:cNvSpPr/>
          <p:nvPr/>
        </p:nvSpPr>
        <p:spPr>
          <a:xfrm>
            <a:off x="5548622" y="5450759"/>
            <a:ext cx="3750242" cy="78040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cs typeface="Open Sans Bold"/>
            </a:endParaRPr>
          </a:p>
        </p:txBody>
      </p:sp>
      <p:sp>
        <p:nvSpPr>
          <p:cNvPr id="147" name="Oval 146">
            <a:extLst>
              <a:ext uri="{FF2B5EF4-FFF2-40B4-BE49-F238E27FC236}">
                <a16:creationId xmlns:a16="http://schemas.microsoft.com/office/drawing/2014/main" id="{4D5E4A45-38AD-478C-9ED6-DDCF949B5D71}"/>
              </a:ext>
            </a:extLst>
          </p:cNvPr>
          <p:cNvSpPr/>
          <p:nvPr/>
        </p:nvSpPr>
        <p:spPr>
          <a:xfrm>
            <a:off x="6755870" y="2570567"/>
            <a:ext cx="1850854" cy="559893"/>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cs typeface="Open Sans Bold"/>
            </a:endParaRPr>
          </a:p>
        </p:txBody>
      </p:sp>
      <p:sp>
        <p:nvSpPr>
          <p:cNvPr id="148" name="Oval 147">
            <a:extLst>
              <a:ext uri="{FF2B5EF4-FFF2-40B4-BE49-F238E27FC236}">
                <a16:creationId xmlns:a16="http://schemas.microsoft.com/office/drawing/2014/main" id="{98F291D0-6103-4E7B-8568-866B9CB4EA17}"/>
              </a:ext>
            </a:extLst>
          </p:cNvPr>
          <p:cNvSpPr/>
          <p:nvPr/>
        </p:nvSpPr>
        <p:spPr>
          <a:xfrm>
            <a:off x="6397493" y="3917039"/>
            <a:ext cx="1047078" cy="1201969"/>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cs typeface="Open Sans Bold"/>
            </a:endParaRPr>
          </a:p>
        </p:txBody>
      </p:sp>
      <p:sp>
        <p:nvSpPr>
          <p:cNvPr id="149" name="Oval 148">
            <a:extLst>
              <a:ext uri="{FF2B5EF4-FFF2-40B4-BE49-F238E27FC236}">
                <a16:creationId xmlns:a16="http://schemas.microsoft.com/office/drawing/2014/main" id="{A2F3A88A-3C2F-4B00-B7EC-5634FA7DEEB2}"/>
              </a:ext>
            </a:extLst>
          </p:cNvPr>
          <p:cNvSpPr/>
          <p:nvPr/>
        </p:nvSpPr>
        <p:spPr>
          <a:xfrm>
            <a:off x="2666299" y="3019872"/>
            <a:ext cx="9351529" cy="49383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cs typeface="Open Sans Bold"/>
            </a:endParaRPr>
          </a:p>
        </p:txBody>
      </p:sp>
      <p:sp>
        <p:nvSpPr>
          <p:cNvPr id="150" name="Oval 149">
            <a:extLst>
              <a:ext uri="{FF2B5EF4-FFF2-40B4-BE49-F238E27FC236}">
                <a16:creationId xmlns:a16="http://schemas.microsoft.com/office/drawing/2014/main" id="{423FA3EF-3471-4E65-9371-1A69C61BC142}"/>
              </a:ext>
            </a:extLst>
          </p:cNvPr>
          <p:cNvSpPr/>
          <p:nvPr/>
        </p:nvSpPr>
        <p:spPr>
          <a:xfrm>
            <a:off x="4206292" y="3935252"/>
            <a:ext cx="697630" cy="28302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cs typeface="Open Sans Bold"/>
            </a:endParaRPr>
          </a:p>
        </p:txBody>
      </p:sp>
      <p:sp>
        <p:nvSpPr>
          <p:cNvPr id="151" name="Oval 150">
            <a:extLst>
              <a:ext uri="{FF2B5EF4-FFF2-40B4-BE49-F238E27FC236}">
                <a16:creationId xmlns:a16="http://schemas.microsoft.com/office/drawing/2014/main" id="{F8C4E385-AB42-4D45-84F6-B040EAD2E761}"/>
              </a:ext>
            </a:extLst>
          </p:cNvPr>
          <p:cNvSpPr/>
          <p:nvPr/>
        </p:nvSpPr>
        <p:spPr>
          <a:xfrm>
            <a:off x="4184579" y="4631543"/>
            <a:ext cx="770465" cy="349309"/>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cs typeface="Open Sans Bold"/>
            </a:endParaRPr>
          </a:p>
        </p:txBody>
      </p:sp>
      <p:sp>
        <p:nvSpPr>
          <p:cNvPr id="128" name="Oval 127">
            <a:extLst>
              <a:ext uri="{FF2B5EF4-FFF2-40B4-BE49-F238E27FC236}">
                <a16:creationId xmlns:a16="http://schemas.microsoft.com/office/drawing/2014/main" id="{F3C17961-7B31-4417-A873-8F12D21D677E}"/>
              </a:ext>
            </a:extLst>
          </p:cNvPr>
          <p:cNvSpPr/>
          <p:nvPr/>
        </p:nvSpPr>
        <p:spPr>
          <a:xfrm>
            <a:off x="8987205" y="1706694"/>
            <a:ext cx="435146" cy="24615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cs typeface="Open Sans Bold"/>
            </a:endParaRPr>
          </a:p>
        </p:txBody>
      </p:sp>
      <p:sp>
        <p:nvSpPr>
          <p:cNvPr id="129" name="Oval 128">
            <a:extLst>
              <a:ext uri="{FF2B5EF4-FFF2-40B4-BE49-F238E27FC236}">
                <a16:creationId xmlns:a16="http://schemas.microsoft.com/office/drawing/2014/main" id="{4BB2E120-F770-4532-B5DD-61C18F49F114}"/>
              </a:ext>
            </a:extLst>
          </p:cNvPr>
          <p:cNvSpPr/>
          <p:nvPr/>
        </p:nvSpPr>
        <p:spPr>
          <a:xfrm>
            <a:off x="5148750" y="4483746"/>
            <a:ext cx="563921" cy="281503"/>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cs typeface="Open Sans Bold"/>
            </a:endParaRPr>
          </a:p>
        </p:txBody>
      </p:sp>
    </p:spTree>
    <p:extLst>
      <p:ext uri="{BB962C8B-B14F-4D97-AF65-F5344CB8AC3E}">
        <p14:creationId xmlns:p14="http://schemas.microsoft.com/office/powerpoint/2010/main" val="31403326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oftheCTO_theme_100218">
  <a:themeElements>
    <a:clrScheme name="Custom 4">
      <a:dk1>
        <a:srgbClr val="000000"/>
      </a:dk1>
      <a:lt1>
        <a:srgbClr val="FFFFFF"/>
      </a:lt1>
      <a:dk2>
        <a:srgbClr val="414141"/>
      </a:dk2>
      <a:lt2>
        <a:srgbClr val="C2C0C0"/>
      </a:lt2>
      <a:accent1>
        <a:srgbClr val="00859B"/>
      </a:accent1>
      <a:accent2>
        <a:srgbClr val="064E69"/>
      </a:accent2>
      <a:accent3>
        <a:srgbClr val="7CC0CC"/>
      </a:accent3>
      <a:accent4>
        <a:srgbClr val="B2DAE1"/>
      </a:accent4>
      <a:accent5>
        <a:srgbClr val="563D82"/>
      </a:accent5>
      <a:accent6>
        <a:srgbClr val="7C3E98"/>
      </a:accent6>
      <a:hlink>
        <a:srgbClr val="563D82"/>
      </a:hlink>
      <a:folHlink>
        <a:srgbClr val="B18BC1"/>
      </a:folHlink>
    </a:clrScheme>
    <a:fontScheme name="Smar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dirty="0" smtClean="0">
            <a:latin typeface="+mj-lt"/>
            <a:cs typeface="Open Sans Bold"/>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mpd="sng">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defTabSz="456758" fontAlgn="base">
          <a:spcBef>
            <a:spcPts val="1200"/>
          </a:spcBef>
          <a:defRPr dirty="0" err="1" smtClean="0">
            <a:solidFill>
              <a:schemeClr val="tx2"/>
            </a:solidFill>
            <a:cs typeface="Open Sans Light"/>
          </a:defRPr>
        </a:defPPr>
      </a:lstStyle>
    </a:txDef>
  </a:objectDefaults>
  <a:extraClrSchemeLst/>
  <a:extLst>
    <a:ext uri="{05A4C25C-085E-4340-85A3-A5531E510DB2}">
      <thm15:themeFamily xmlns:thm15="http://schemas.microsoft.com/office/thememl/2012/main" name="OfficeoftheCTO_theme_100218" id="{18E4FBCB-19BE-804A-9DE7-397BE919D330}" vid="{0A8A6A59-A18B-E745-A2BF-59BBEE2B9A0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69E6DEB8F4FB049B548952547B6305B" ma:contentTypeVersion="23" ma:contentTypeDescription="Create a new document." ma:contentTypeScope="" ma:versionID="c215ccef8c3a36b16093470dad90619d">
  <xsd:schema xmlns:xsd="http://www.w3.org/2001/XMLSchema" xmlns:xs="http://www.w3.org/2001/XMLSchema" xmlns:p="http://schemas.microsoft.com/office/2006/metadata/properties" xmlns:ns2="b1cf5257-8992-498b-aff9-2ccb2706890d" xmlns:ns3="f8f3ac21-d33a-4f17-9d4e-9f9f14b93e81" targetNamespace="http://schemas.microsoft.com/office/2006/metadata/properties" ma:root="true" ma:fieldsID="3d38ed3f155d5df0c2af8249c3cff766" ns2:_="" ns3:_="">
    <xsd:import namespace="b1cf5257-8992-498b-aff9-2ccb2706890d"/>
    <xsd:import namespace="f8f3ac21-d33a-4f17-9d4e-9f9f14b93e81"/>
    <xsd:element name="properties">
      <xsd:complexType>
        <xsd:sequence>
          <xsd:element name="documentManagement">
            <xsd:complexType>
              <xsd:all>
                <xsd:element ref="ns2:Link_x0020_to_x0020_Document" minOccurs="0"/>
                <xsd:element ref="ns3:SharedWithUsers" minOccurs="0"/>
                <xsd:element ref="ns3:SharedWithDetails" minOccurs="0"/>
                <xsd:element ref="ns2:ne0396003d134c759a94fef6d5606d1a" minOccurs="0"/>
                <xsd:element ref="ns3:TaxCatchAll"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cf5257-8992-498b-aff9-2ccb2706890d" elementFormDefault="qualified">
    <xsd:import namespace="http://schemas.microsoft.com/office/2006/documentManagement/types"/>
    <xsd:import namespace="http://schemas.microsoft.com/office/infopath/2007/PartnerControls"/>
    <xsd:element name="Link_x0020_to_x0020_Document" ma:index="8" nillable="true" ma:displayName="Link to Document" ma:format="Hyperlink" ma:internalName="Link_x0020_to_x0020_Document">
      <xsd:complexType>
        <xsd:complexContent>
          <xsd:extension base="dms:URL">
            <xsd:sequence>
              <xsd:element name="Url" type="dms:ValidUrl" minOccurs="0" nillable="true"/>
              <xsd:element name="Description" type="xsd:string" nillable="true"/>
            </xsd:sequence>
          </xsd:extension>
        </xsd:complexContent>
      </xsd:complexType>
    </xsd:element>
    <xsd:element name="ne0396003d134c759a94fef6d5606d1a" ma:index="12" nillable="true" ma:taxonomy="true" ma:internalName="ne0396003d134c759a94fef6d5606d1a" ma:taxonomyFieldName="ItemStatus" ma:displayName="ItemStatus" ma:default="" ma:fieldId="{7e039600-3d13-4c75-9a94-fef6d5606d1a}" ma:taxonomyMulti="true" ma:sspId="3773e5d3-86f4-436a-b35a-a9b626cf6315" ma:termSetId="db40ae4d-ec6d-4fe5-b1a5-c9938661c4ef" ma:anchorId="00000000-0000-0000-0000-000000000000" ma:open="false" ma:isKeyword="false">
      <xsd:complexType>
        <xsd:sequence>
          <xsd:element ref="pc:Terms" minOccurs="0" maxOccurs="1"/>
        </xsd:sequence>
      </xsd:complexType>
    </xsd:element>
    <xsd:element name="MediaLengthInSeconds" ma:index="14"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8f3ac21-d33a-4f17-9d4e-9f9f14b93e81" elementFormDefault="qualified">
    <xsd:import namespace="http://schemas.microsoft.com/office/2006/documentManagement/types"/>
    <xsd:import namespace="http://schemas.microsoft.com/office/infopath/2007/PartnerControls"/>
    <xsd:element name="SharedWithUsers" ma:index="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0" nillable="true" ma:displayName="Shared With Details" ma:internalName="SharedWithDetails" ma:readOnly="true">
      <xsd:simpleType>
        <xsd:restriction base="dms:Note">
          <xsd:maxLength value="255"/>
        </xsd:restriction>
      </xsd:simpleType>
    </xsd:element>
    <xsd:element name="TaxCatchAll" ma:index="13" nillable="true" ma:displayName="Taxonomy Catch All Column" ma:hidden="true" ma:list="{b152409f-fec3-4f87-b851-0f982ca0a3b0}" ma:internalName="TaxCatchAll" ma:showField="CatchAllData" ma:web="f8f3ac21-d33a-4f17-9d4e-9f9f14b93e8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ink_x0020_to_x0020_Document xmlns="b1cf5257-8992-498b-aff9-2ccb2706890d">
      <Url xsi:nil="true"/>
      <Description xsi:nil="true"/>
    </Link_x0020_to_x0020_Document>
    <SharedWithUsers xmlns="f8f3ac21-d33a-4f17-9d4e-9f9f14b93e81">
      <UserInfo>
        <DisplayName>Hickey, Claudette</DisplayName>
        <AccountId>43</AccountId>
        <AccountType/>
      </UserInfo>
    </SharedWithUsers>
    <TaxCatchAll xmlns="f8f3ac21-d33a-4f17-9d4e-9f9f14b93e81" xsi:nil="true"/>
    <ne0396003d134c759a94fef6d5606d1a xmlns="b1cf5257-8992-498b-aff9-2ccb2706890d">
      <Terms xmlns="http://schemas.microsoft.com/office/infopath/2007/PartnerControls"/>
    </ne0396003d134c759a94fef6d5606d1a>
  </documentManagement>
</p:properties>
</file>

<file path=customXml/itemProps1.xml><?xml version="1.0" encoding="utf-8"?>
<ds:datastoreItem xmlns:ds="http://schemas.openxmlformats.org/officeDocument/2006/customXml" ds:itemID="{3A4C5460-6341-4A06-8926-FDDA58E91623}">
  <ds:schemaRefs>
    <ds:schemaRef ds:uri="http://schemas.microsoft.com/sharepoint/v3/contenttype/forms"/>
  </ds:schemaRefs>
</ds:datastoreItem>
</file>

<file path=customXml/itemProps2.xml><?xml version="1.0" encoding="utf-8"?>
<ds:datastoreItem xmlns:ds="http://schemas.openxmlformats.org/officeDocument/2006/customXml" ds:itemID="{FFEF1EFF-851D-44AC-B60C-F92DDFECFED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1cf5257-8992-498b-aff9-2ccb2706890d"/>
    <ds:schemaRef ds:uri="f8f3ac21-d33a-4f17-9d4e-9f9f14b93e8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24F0FD7-590D-477C-84D8-04F64A55F94D}">
  <ds:schemaRefs>
    <ds:schemaRef ds:uri="http://schemas.microsoft.com/office/2006/metadata/properties"/>
    <ds:schemaRef ds:uri="http://purl.org/dc/terms/"/>
    <ds:schemaRef ds:uri="f8f3ac21-d33a-4f17-9d4e-9f9f14b93e81"/>
    <ds:schemaRef ds:uri="http://schemas.microsoft.com/office/2006/documentManagement/types"/>
    <ds:schemaRef ds:uri="http://schemas.openxmlformats.org/package/2006/metadata/core-properties"/>
    <ds:schemaRef ds:uri="http://purl.org/dc/elements/1.1/"/>
    <ds:schemaRef ds:uri="b1cf5257-8992-498b-aff9-2ccb2706890d"/>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Aetna Violet PPT template-widescreen</Template>
  <TotalTime>178492</TotalTime>
  <Words>3113</Words>
  <Application>Microsoft Office PowerPoint</Application>
  <PresentationFormat>Widescreen</PresentationFormat>
  <Paragraphs>514</Paragraphs>
  <Slides>23</Slides>
  <Notes>18</Notes>
  <HiddenSlides>0</HiddenSlides>
  <MMClips>0</MMClips>
  <ScaleCrop>false</ScaleCrop>
  <HeadingPairs>
    <vt:vector size="4" baseType="variant">
      <vt:variant>
        <vt:lpstr>Theme</vt:lpstr>
      </vt:variant>
      <vt:variant>
        <vt:i4>1</vt:i4>
      </vt:variant>
      <vt:variant>
        <vt:lpstr>Slide Titles</vt:lpstr>
      </vt:variant>
      <vt:variant>
        <vt:i4>23</vt:i4>
      </vt:variant>
    </vt:vector>
  </HeadingPairs>
  <TitlesOfParts>
    <vt:vector size="24" baseType="lpstr">
      <vt:lpstr>OfficeoftheCTO_theme_100218</vt:lpstr>
      <vt:lpstr>Clinical Platform (Version 3.2) </vt:lpstr>
      <vt:lpstr>Table of Contents</vt:lpstr>
      <vt:lpstr>Executive Summary</vt:lpstr>
      <vt:lpstr>Business Opportunity</vt:lpstr>
      <vt:lpstr>Lines of Business Care Model</vt:lpstr>
      <vt:lpstr>Even today some of our data feeds are created “as needed” from one source to another, thereby creating duplication, inefficiencies and lacks source of truth</vt:lpstr>
      <vt:lpstr>Why is it important to CVS Health?</vt:lpstr>
      <vt:lpstr>Why is it important to CVS Health?</vt:lpstr>
      <vt:lpstr>Clinical Platform Strategy – Strategic Programs</vt:lpstr>
      <vt:lpstr>IT Strategy: Business Platforms</vt:lpstr>
      <vt:lpstr>What does Success look like?</vt:lpstr>
      <vt:lpstr>Future State Clinical Platform</vt:lpstr>
      <vt:lpstr>Next Steps</vt:lpstr>
      <vt:lpstr>PowerPoint Presentation</vt:lpstr>
      <vt:lpstr>Prioritized Business  Use Cases</vt:lpstr>
      <vt:lpstr>Enhanced Patient Experience   </vt:lpstr>
      <vt:lpstr>Enhanced Provider Experience   </vt:lpstr>
      <vt:lpstr>CVS Clinical Operational excellence </vt:lpstr>
      <vt:lpstr>PowerPoint Presentation</vt:lpstr>
      <vt:lpstr>PowerPoint Presentation</vt:lpstr>
      <vt:lpstr>PowerPoint Presentation</vt:lpstr>
      <vt:lpstr>Clinical Current </vt:lpstr>
      <vt:lpstr>PowerPoint Presentation</vt:lpstr>
    </vt:vector>
  </TitlesOfParts>
  <Company>Aetn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ffrey Oddo</dc:creator>
  <cp:lastModifiedBy>Fitzgerald, David</cp:lastModifiedBy>
  <cp:revision>1944</cp:revision>
  <cp:lastPrinted>2019-03-04T01:26:20Z</cp:lastPrinted>
  <dcterms:created xsi:type="dcterms:W3CDTF">2017-11-30T21:23:10Z</dcterms:created>
  <dcterms:modified xsi:type="dcterms:W3CDTF">2022-03-11T15:01: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9E6DEB8F4FB049B548952547B6305B</vt:lpwstr>
  </property>
  <property fmtid="{D5CDD505-2E9C-101B-9397-08002B2CF9AE}" pid="3" name="MSIP_Label_67599526-06ca-49cc-9fa9-5307800a949a_Enabled">
    <vt:lpwstr>True</vt:lpwstr>
  </property>
  <property fmtid="{D5CDD505-2E9C-101B-9397-08002B2CF9AE}" pid="4" name="MSIP_Label_67599526-06ca-49cc-9fa9-5307800a949a_SiteId">
    <vt:lpwstr>fabb61b8-3afe-4e75-b934-a47f782b8cd7</vt:lpwstr>
  </property>
  <property fmtid="{D5CDD505-2E9C-101B-9397-08002B2CF9AE}" pid="5" name="MSIP_Label_67599526-06ca-49cc-9fa9-5307800a949a_Owner">
    <vt:lpwstr>AvadhanamH@aetna.com</vt:lpwstr>
  </property>
  <property fmtid="{D5CDD505-2E9C-101B-9397-08002B2CF9AE}" pid="6" name="MSIP_Label_67599526-06ca-49cc-9fa9-5307800a949a_SetDate">
    <vt:lpwstr>2019-01-11T18:50:42.0821147Z</vt:lpwstr>
  </property>
  <property fmtid="{D5CDD505-2E9C-101B-9397-08002B2CF9AE}" pid="7" name="MSIP_Label_67599526-06ca-49cc-9fa9-5307800a949a_Name">
    <vt:lpwstr>Proprietary</vt:lpwstr>
  </property>
  <property fmtid="{D5CDD505-2E9C-101B-9397-08002B2CF9AE}" pid="8" name="MSIP_Label_67599526-06ca-49cc-9fa9-5307800a949a_Application">
    <vt:lpwstr>Microsoft Azure Information Protection</vt:lpwstr>
  </property>
  <property fmtid="{D5CDD505-2E9C-101B-9397-08002B2CF9AE}" pid="9" name="MSIP_Label_67599526-06ca-49cc-9fa9-5307800a949a_Extended_MSFT_Method">
    <vt:lpwstr>Automatic</vt:lpwstr>
  </property>
  <property fmtid="{D5CDD505-2E9C-101B-9397-08002B2CF9AE}" pid="10" name="Sensitivity">
    <vt:lpwstr>Proprietary</vt:lpwstr>
  </property>
  <property fmtid="{D5CDD505-2E9C-101B-9397-08002B2CF9AE}" pid="11" name="Order">
    <vt:r8>1235200</vt:r8>
  </property>
  <property fmtid="{D5CDD505-2E9C-101B-9397-08002B2CF9AE}" pid="12" name="ItemStatus">
    <vt:lpwstr/>
  </property>
</Properties>
</file>